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891" r:id="rId1"/>
  </p:sldMasterIdLst>
  <p:notesMasterIdLst>
    <p:notesMasterId r:id="rId12"/>
  </p:notesMasterIdLst>
  <p:handoutMasterIdLst>
    <p:handoutMasterId r:id="rId13"/>
  </p:handoutMasterIdLst>
  <p:sldIdLst>
    <p:sldId id="2146847048" r:id="rId2"/>
    <p:sldId id="2146847074" r:id="rId3"/>
    <p:sldId id="2146847082" r:id="rId4"/>
    <p:sldId id="2146846795" r:id="rId5"/>
    <p:sldId id="2146847072" r:id="rId6"/>
    <p:sldId id="2146847089" r:id="rId7"/>
    <p:sldId id="2146847092" r:id="rId8"/>
    <p:sldId id="2146847054" r:id="rId9"/>
    <p:sldId id="2146847063" r:id="rId10"/>
    <p:sldId id="2146847066" r:id="rId11"/>
  </p:sldIdLst>
  <p:sldSz cx="9144000" cy="5143500" type="screen16x9"/>
  <p:notesSz cx="6858000" cy="9144000"/>
  <p:embeddedFontLst>
    <p:embeddedFont>
      <p:font typeface="Calibri" panose="020F0502020204030204" pitchFamily="34" charset="0"/>
      <p:regular r:id="rId14"/>
      <p:bold r:id="rId15"/>
      <p:italic r:id="rId16"/>
      <p:boldItalic r:id="rId17"/>
    </p:embeddedFont>
    <p:embeddedFont>
      <p:font typeface="IBM Plex Sans" panose="020B0503050203000203" pitchFamily="34" charset="0"/>
      <p:regular r:id="rId18"/>
      <p:bold r:id="rId19"/>
      <p:italic r:id="rId20"/>
      <p:boldItalic r:id="rId21"/>
    </p:embeddedFont>
    <p:embeddedFont>
      <p:font typeface="IBM Plex Sans Light" panose="020B0403050203000203" pitchFamily="34" charset="0"/>
      <p:regular r:id="rId22"/>
      <p:italic r:id="rId23"/>
    </p:embeddedFont>
  </p:embeddedFontLst>
  <p:defaultTextStyle>
    <a:defPPr>
      <a:defRPr lang="en-US"/>
    </a:defPPr>
    <a:lvl1pPr marL="0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91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983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974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966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957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949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940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932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709B4C7-07E0-570E-5188-C5874C8CF9B1}" name="Ryan Hicks" initials="RH" userId="S::ryan.hicks@ibm.com::ea480a08-415b-4ba8-bcc2-7279becc4c32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achary Anderson" initials="ZA" lastIdx="26" clrIdx="0">
    <p:extLst>
      <p:ext uri="{19B8F6BF-5375-455C-9EA6-DF929625EA0E}">
        <p15:presenceInfo xmlns:p15="http://schemas.microsoft.com/office/powerpoint/2012/main" userId="S::zanderson@vsapartners.com::b6da4b55-2f36-4779-ba8b-606d779a32e3" providerId="AD"/>
      </p:ext>
    </p:extLst>
  </p:cmAuthor>
  <p:cmAuthor id="2" name="Liz Sadler" initials="LS" lastIdx="36" clrIdx="1">
    <p:extLst>
      <p:ext uri="{19B8F6BF-5375-455C-9EA6-DF929625EA0E}">
        <p15:presenceInfo xmlns:p15="http://schemas.microsoft.com/office/powerpoint/2012/main" userId="Liz Sadl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4924"/>
    <p:restoredTop sz="94946"/>
  </p:normalViewPr>
  <p:slideViewPr>
    <p:cSldViewPr snapToGrid="0" snapToObjects="1">
      <p:cViewPr varScale="1">
        <p:scale>
          <a:sx n="208" d="100"/>
          <a:sy n="208" d="100"/>
        </p:scale>
        <p:origin x="832" y="184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-2317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8" d="100"/>
          <a:sy n="88" d="100"/>
        </p:scale>
        <p:origin x="3872" y="1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font" Target="fonts/font5.fntdata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font" Target="fonts/font8.fntdata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font" Target="fonts/font4.fntdata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font" Target="fonts/font3.fntdata"/><Relationship Id="rId20" Type="http://schemas.openxmlformats.org/officeDocument/2006/relationships/font" Target="fonts/font7.fntdata"/><Relationship Id="rId29" Type="http://schemas.microsoft.com/office/2018/10/relationships/authors" Target="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font" Target="fonts/font2.fntdata"/><Relationship Id="rId23" Type="http://schemas.openxmlformats.org/officeDocument/2006/relationships/font" Target="fonts/font10.fntdata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font" Target="fonts/font6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1.fntdata"/><Relationship Id="rId22" Type="http://schemas.openxmlformats.org/officeDocument/2006/relationships/font" Target="fonts/font9.fntdata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219456" y="8705088"/>
            <a:ext cx="338328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pPr algn="l"/>
            <a:fld id="{614B4878-71CB-8F40-B9DD-F26F1F6CA014}" type="slidenum">
              <a:rPr lang="en-US" sz="600" smtClean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charset="0"/>
                <a:cs typeface="IBM Plex Sans Light" charset="0"/>
              </a:rPr>
              <a:pPr algn="l"/>
              <a:t>‹#›</a:t>
            </a:fld>
            <a:endParaRPr lang="en-US" sz="600" dirty="0">
              <a:solidFill>
                <a:schemeClr val="bg1"/>
              </a:solidFill>
              <a:latin typeface="IBM Plex Sans Light" panose="020B0503050203000203" pitchFamily="34" charset="0"/>
              <a:ea typeface="IBM Plex Sans Light" charset="0"/>
              <a:cs typeface="IBM Plex Sans Light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630936" y="8705088"/>
            <a:ext cx="3657600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/>
            </a:lvl1pPr>
          </a:lstStyle>
          <a:p>
            <a:r>
              <a:rPr lang="en-US" sz="600" dirty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charset="0"/>
                <a:cs typeface="IBM Plex Sans Light" charset="0"/>
              </a:rPr>
              <a:t>Group Name / DOC ID / Month XX, 2022 / 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4802781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822450" y="228600"/>
            <a:ext cx="3213100" cy="1807369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8" name="Notes Placeholder 7">
            <a:extLst>
              <a:ext uri="{FF2B5EF4-FFF2-40B4-BE49-F238E27FC236}">
                <a16:creationId xmlns:a16="http://schemas.microsoft.com/office/drawing/2014/main" id="{6ABF5568-9620-E34F-9423-054ABD0598F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219456" y="2247900"/>
            <a:ext cx="6419088" cy="61595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marL="803275" marR="0" lvl="4" indent="-1714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IBM Plex Sans Light" charset="-120"/>
              <a:buChar char="»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 panose="020B0503050203000203" pitchFamily="34" charset="0"/>
                <a:ea typeface="+mn-ea"/>
                <a:cs typeface="+mn-cs"/>
              </a:rPr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219456" y="8705088"/>
            <a:ext cx="338328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600" b="0" i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panose="020B0503050203000203" pitchFamily="34" charset="0"/>
                <a:cs typeface="IBM Plex Sans Light" panose="020B0503050203000203" pitchFamily="34" charset="0"/>
              </a:defRPr>
            </a:lvl1pPr>
          </a:lstStyle>
          <a:p>
            <a:fld id="{6E2E38B8-B0B4-AD41-AC6E-B781F46A9FD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630936" y="8705088"/>
            <a:ext cx="3657600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600" b="0" i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panose="020B0503050203000203" pitchFamily="34" charset="0"/>
                <a:cs typeface="IBM Plex Sans Light" panose="020B0503050203000203" pitchFamily="34" charset="0"/>
              </a:defRPr>
            </a:lvl1pPr>
          </a:lstStyle>
          <a:p>
            <a:r>
              <a:rPr lang="en-US" dirty="0"/>
              <a:t>Group Name / DOC ID / Month XX, 2022 / 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791598581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spcBef>
        <a:spcPts val="600"/>
      </a:spcBef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1pPr>
    <a:lvl2pPr marL="174625" indent="-169863" algn="l" defTabSz="914400" rtl="0" eaLnBrk="1" latinLnBrk="0" hangingPunct="1">
      <a:spcBef>
        <a:spcPts val="600"/>
      </a:spcBef>
      <a:buFont typeface="IBM Plex Sans"/>
      <a:buChar char="–"/>
      <a:tabLst/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2pPr>
    <a:lvl3pPr marL="347472" indent="-173736" algn="l" defTabSz="914400" rtl="0" eaLnBrk="1" latinLnBrk="0" hangingPunct="1">
      <a:spcBef>
        <a:spcPts val="600"/>
      </a:spcBef>
      <a:buFont typeface="IBM Plex Sans Light" panose="020B0604020202020204" pitchFamily="34" charset="0"/>
      <a:buChar char="•"/>
      <a:tabLst/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3pPr>
    <a:lvl4pPr marL="630936" indent="-173736" algn="l" defTabSz="914400" rtl="0" eaLnBrk="1" latinLnBrk="0" hangingPunct="1">
      <a:spcBef>
        <a:spcPts val="600"/>
      </a:spcBef>
      <a:buFont typeface="IBM Plex Sans Light"/>
      <a:buChar char="–"/>
      <a:tabLst/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4pPr>
    <a:lvl5pPr marL="174625" marR="0" indent="-169863" algn="l" defTabSz="914400" rtl="0" eaLnBrk="1" fontAlgn="base" latinLnBrk="0" hangingPunct="1">
      <a:lnSpc>
        <a:spcPct val="100000"/>
      </a:lnSpc>
      <a:spcBef>
        <a:spcPts val="600"/>
      </a:spcBef>
      <a:spcAft>
        <a:spcPct val="0"/>
      </a:spcAft>
      <a:buClr>
        <a:srgbClr val="000000"/>
      </a:buClr>
      <a:buSzTx/>
      <a:buFont typeface="IBM Plex Sans Light" charset="-120"/>
      <a:buChar char="»"/>
      <a:tabLst/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54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A23C2C-3334-4B4F-92AB-A790C33FFEE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54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65931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2E38B8-B0B4-AD41-AC6E-B781F46A9FD3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61638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2E38B8-B0B4-AD41-AC6E-B781F46A9FD3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91671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54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A23C2C-3334-4B4F-92AB-A790C33FFEE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54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06697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54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A23C2C-3334-4B4F-92AB-A790C33FFEE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54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06697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45047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00742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01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accent2"/>
                </a:solidFill>
              </a:defRPr>
            </a:lvl2pPr>
            <a:lvl3pPr marL="201615" indent="0">
              <a:buNone/>
              <a:defRPr/>
            </a:lvl3pPr>
            <a:lvl4pPr marL="434981" indent="0">
              <a:buNone/>
              <a:defRPr/>
            </a:lvl4pPr>
            <a:lvl5pPr marL="63183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791456" y="1243584"/>
            <a:ext cx="4123944" cy="3252216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accent2"/>
                </a:solidFill>
              </a:defRPr>
            </a:lvl2pPr>
            <a:lvl3pPr marL="201615" indent="0">
              <a:buNone/>
              <a:defRPr/>
            </a:lvl3pPr>
            <a:lvl4pPr marL="434981" indent="0">
              <a:buNone/>
              <a:defRPr/>
            </a:lvl4pPr>
            <a:lvl5pPr marL="63183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53906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9456" y="219456"/>
            <a:ext cx="4133088" cy="804672"/>
          </a:xfr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37160" y="1133856"/>
            <a:ext cx="4206240" cy="3361944"/>
          </a:xfrm>
        </p:spPr>
        <p:txBody>
          <a:bodyPr/>
          <a:lstStyle>
            <a:lvl1pPr>
              <a:lnSpc>
                <a:spcPct val="90000"/>
              </a:lnSpc>
              <a:defRPr sz="96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26051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9456" y="219456"/>
            <a:ext cx="4133088" cy="804672"/>
          </a:xfrm>
        </p:spPr>
        <p:txBody>
          <a:bodyPr/>
          <a:lstStyle>
            <a:lvl1pPr>
              <a:defRPr sz="16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37160" y="1133856"/>
            <a:ext cx="4206240" cy="3361944"/>
          </a:xfrm>
        </p:spPr>
        <p:txBody>
          <a:bodyPr/>
          <a:lstStyle>
            <a:lvl1pPr>
              <a:lnSpc>
                <a:spcPct val="90000"/>
              </a:lnSpc>
              <a:defRPr sz="96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>
            <a:lvl1pPr>
              <a:defRPr b="0" i="0" baseline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31547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37161" y="91440"/>
            <a:ext cx="8778172" cy="4404360"/>
          </a:xfrm>
        </p:spPr>
        <p:txBody>
          <a:bodyPr/>
          <a:lstStyle>
            <a:lvl1pPr>
              <a:defRPr sz="96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12763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3" y="201168"/>
            <a:ext cx="5562535" cy="4294632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374287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4791456" y="201168"/>
            <a:ext cx="412394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81301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791457" y="1243584"/>
            <a:ext cx="4123876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37521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10312" y="1216152"/>
            <a:ext cx="4142232" cy="3279648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4791456" y="1243584"/>
            <a:ext cx="4123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7856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505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791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7077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2682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6" y="457"/>
            <a:ext cx="9133548" cy="5142585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10" name="Picture">
            <a:extLst>
              <a:ext uri="{FF2B5EF4-FFF2-40B4-BE49-F238E27FC236}">
                <a16:creationId xmlns:a16="http://schemas.microsoft.com/office/drawing/2014/main" id="{AF27D010-9F2C-E24B-9425-1712E900993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897744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057417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4791456" y="201168"/>
            <a:ext cx="183794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7077456" y="201168"/>
            <a:ext cx="183794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6872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3" y="201168"/>
            <a:ext cx="414216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Black rectangle">
            <a:extLst>
              <a:ext uri="{FF2B5EF4-FFF2-40B4-BE49-F238E27FC236}">
                <a16:creationId xmlns:a16="http://schemas.microsoft.com/office/drawing/2014/main" id="{612CE115-19C6-174D-97D1-85AD78D8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latin typeface="IBM Plex Sans Light" panose="020B0503050203000203" pitchFamily="34" charset="0"/>
              <a:cs typeface="IBM Plex Sans Light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4791456" y="201168"/>
            <a:ext cx="4123944" cy="4294632"/>
          </a:xfrm>
        </p:spPr>
        <p:txBody>
          <a:bodyPr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64113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44687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37231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61747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4572000" y="0"/>
            <a:ext cx="2286000" cy="257175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6858000" y="0"/>
            <a:ext cx="2286000" cy="257175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4572000" y="2570163"/>
            <a:ext cx="4572000" cy="257333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9AF558B-7F9E-D94C-91DC-907B299967CF}"/>
              </a:ext>
            </a:extLst>
          </p:cNvPr>
          <p:cNvCxnSpPr/>
          <p:nvPr userDrawn="1"/>
        </p:nvCxnSpPr>
        <p:spPr bwMode="auto">
          <a:xfrm flipV="1">
            <a:off x="4572000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13EAF49-221E-8B43-8D20-D58F4F88516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6854434" y="234951"/>
            <a:ext cx="0" cy="211690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F54D63C-09D4-6A49-B605-D1076B01100F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792362" y="2570163"/>
            <a:ext cx="41148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280836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4572000" cy="2571751"/>
          </a:xfrm>
          <a:noFill/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4572000" y="0"/>
            <a:ext cx="2286000" cy="257175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6858000" y="0"/>
            <a:ext cx="2286000" cy="257175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2570163"/>
            <a:ext cx="4572000" cy="2573337"/>
          </a:xfrm>
          <a:noFill/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4572000" y="2570163"/>
            <a:ext cx="4572000" cy="257333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7703589-7433-EC4D-BE5D-6575D7E7166A}"/>
              </a:ext>
            </a:extLst>
          </p:cNvPr>
          <p:cNvCxnSpPr/>
          <p:nvPr userDrawn="1"/>
        </p:nvCxnSpPr>
        <p:spPr bwMode="auto">
          <a:xfrm flipV="1">
            <a:off x="4572000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18C1B72-1958-D34C-A6E7-456FA9B0FC99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28600" y="2566988"/>
            <a:ext cx="41148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06980A7-369F-8B4C-8947-FB084B5C4D9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792362" y="2566988"/>
            <a:ext cx="41148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255AABD-2874-C04C-A3C5-21D11C37116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6855768" y="234951"/>
            <a:ext cx="0" cy="211690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277394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2569463"/>
          </a:xfrm>
          <a:noFill/>
        </p:spPr>
        <p:txBody>
          <a:bodyPr lIns="182880" tIns="164592" rIns="228600" bIns="228600"/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ontent Placeholder 1"/>
          <p:cNvSpPr>
            <a:spLocks noGrp="1"/>
          </p:cNvSpPr>
          <p:nvPr>
            <p:ph sz="quarter" idx="20"/>
          </p:nvPr>
        </p:nvSpPr>
        <p:spPr>
          <a:xfrm>
            <a:off x="0" y="2570163"/>
            <a:ext cx="2286000" cy="2573337"/>
          </a:xfrm>
          <a:noFill/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19"/>
          </p:nvPr>
        </p:nvSpPr>
        <p:spPr>
          <a:xfrm>
            <a:off x="2286001" y="2570163"/>
            <a:ext cx="2286000" cy="257333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572000" y="2570162"/>
            <a:ext cx="2286000" cy="2573338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6858000" y="2570162"/>
            <a:ext cx="2286000" cy="2573338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8320A1C-9D4D-2642-8A60-4D7502759E0A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2286000" y="2791641"/>
            <a:ext cx="0" cy="170415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51D6F0D-CE7A-AD49-AE36-D798DDFEB592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4572000" y="2791641"/>
            <a:ext cx="0" cy="170415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E4FA535-4023-394A-90AB-A2087397CBB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6858000" y="2791641"/>
            <a:ext cx="0" cy="170415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7EB495F-72F9-774E-A3C3-3B24D9E37D7D}"/>
              </a:ext>
            </a:extLst>
          </p:cNvPr>
          <p:cNvCxnSpPr/>
          <p:nvPr userDrawn="1"/>
        </p:nvCxnSpPr>
        <p:spPr bwMode="auto">
          <a:xfrm>
            <a:off x="228600" y="2571750"/>
            <a:ext cx="8686800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381556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gray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276350"/>
          </a:xfrm>
          <a:solidFill>
            <a:schemeClr val="tx2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276350"/>
            <a:ext cx="9144000" cy="386715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24250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6" y="457"/>
            <a:ext cx="9133548" cy="5142584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F7EA8AAE-0BDE-7D4C-B52A-496FD9C298D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927313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gray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8072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3" y="2571750"/>
            <a:ext cx="2286003" cy="2571750"/>
          </a:xfrm>
          <a:solidFill>
            <a:schemeClr val="tx2"/>
          </a:solidFill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 sz="1000"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 sz="1000"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 sz="1000"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187946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2286000" cy="5148072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2286000" y="0"/>
            <a:ext cx="2286000" cy="5148072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4572000" y="0"/>
            <a:ext cx="2286000" cy="5148072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5148072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2E18FC-E432-1E42-B894-602F7E42F9FA}"/>
              </a:ext>
            </a:extLst>
          </p:cNvPr>
          <p:cNvCxnSpPr/>
          <p:nvPr userDrawn="1"/>
        </p:nvCxnSpPr>
        <p:spPr bwMode="auto">
          <a:xfrm flipV="1">
            <a:off x="4572000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675E39C-0AE8-5A49-B52F-35BB80D2B041}"/>
              </a:ext>
            </a:extLst>
          </p:cNvPr>
          <p:cNvCxnSpPr/>
          <p:nvPr userDrawn="1"/>
        </p:nvCxnSpPr>
        <p:spPr bwMode="auto">
          <a:xfrm flipV="1">
            <a:off x="2283769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A7AC78C-6E13-604B-BABB-F3F41F933F3B}"/>
              </a:ext>
            </a:extLst>
          </p:cNvPr>
          <p:cNvCxnSpPr/>
          <p:nvPr userDrawn="1"/>
        </p:nvCxnSpPr>
        <p:spPr bwMode="auto">
          <a:xfrm flipV="1">
            <a:off x="6855769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642608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514600" y="1243584"/>
            <a:ext cx="6400800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605913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988199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2505456" y="1259626"/>
            <a:ext cx="1837944" cy="3252216"/>
          </a:xfrm>
        </p:spPr>
        <p:txBody>
          <a:bodyPr/>
          <a:lstStyle>
            <a:lvl1pPr>
              <a:spcBef>
                <a:spcPts val="300"/>
              </a:spcBef>
              <a:defRPr sz="1400">
                <a:solidFill>
                  <a:schemeClr val="tx1"/>
                </a:solidFill>
              </a:defRPr>
            </a:lvl1pPr>
            <a:lvl2pPr>
              <a:spcBef>
                <a:spcPts val="1100"/>
              </a:spcBef>
              <a:defRPr sz="1400">
                <a:solidFill>
                  <a:schemeClr val="tx1"/>
                </a:solidFill>
              </a:defRPr>
            </a:lvl2pPr>
            <a:lvl3pPr>
              <a:spcBef>
                <a:spcPts val="1100"/>
              </a:spcBef>
              <a:defRPr sz="1400">
                <a:solidFill>
                  <a:schemeClr val="tx1"/>
                </a:solidFill>
              </a:defRPr>
            </a:lvl3pPr>
            <a:lvl4pPr>
              <a:spcBef>
                <a:spcPts val="110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110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45278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505456" y="1262634"/>
            <a:ext cx="1837944" cy="3252216"/>
          </a:xfrm>
        </p:spPr>
        <p:txBody>
          <a:bodyPr/>
          <a:lstStyle>
            <a:lvl1pPr>
              <a:spcBef>
                <a:spcPts val="300"/>
              </a:spcBef>
              <a:defRPr sz="10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chemeClr val="tx1"/>
                </a:solidFill>
              </a:defRPr>
            </a:lvl2pPr>
            <a:lvl3pPr>
              <a:spcBef>
                <a:spcPts val="300"/>
              </a:spcBef>
              <a:defRPr sz="1000">
                <a:solidFill>
                  <a:schemeClr val="tx1"/>
                </a:solidFill>
              </a:defRPr>
            </a:lvl3pPr>
            <a:lvl4pPr>
              <a:spcBef>
                <a:spcPts val="300"/>
              </a:spcBef>
              <a:defRPr sz="1000">
                <a:solidFill>
                  <a:schemeClr val="tx1"/>
                </a:solidFill>
              </a:defRPr>
            </a:lvl4pPr>
            <a:lvl5pPr>
              <a:spcBef>
                <a:spcPts val="300"/>
              </a:spcBef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773168" y="1216152"/>
            <a:ext cx="4142232" cy="3279648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946756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19456" y="201168"/>
            <a:ext cx="183794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2505457" y="201168"/>
            <a:ext cx="6409876" cy="4294632"/>
          </a:xfrm>
        </p:spPr>
        <p:txBody>
          <a:bodyPr lIns="0" tIns="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072089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690248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779177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61872"/>
            <a:ext cx="4123944" cy="1309878"/>
          </a:xfrm>
        </p:spPr>
        <p:txBody>
          <a:bodyPr/>
          <a:lstStyle>
            <a:lvl1pPr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201615" indent="0">
              <a:buNone/>
              <a:defRPr/>
            </a:lvl3pPr>
            <a:lvl4pPr marL="434981" indent="0">
              <a:buNone/>
              <a:defRPr/>
            </a:lvl4pPr>
            <a:lvl5pPr marL="63183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1C6F2CA-B8B6-BF4F-8900-E2319DA9DD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9456" y="3209544"/>
            <a:ext cx="6409944" cy="1307592"/>
          </a:xfrm>
        </p:spPr>
        <p:txBody>
          <a:bodyPr anchor="b"/>
          <a:lstStyle>
            <a:lvl1pPr>
              <a:spcBef>
                <a:spcPts val="300"/>
              </a:spcBef>
              <a:defRPr sz="600">
                <a:solidFill>
                  <a:schemeClr val="tx1"/>
                </a:solidFill>
              </a:defRPr>
            </a:lvl1pPr>
            <a:lvl2pPr>
              <a:defRPr sz="6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48213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7" y="457"/>
            <a:ext cx="9133546" cy="5142584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2F8C8987-724F-6B47-A6B9-8E11DF00B81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928956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ue6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923197" y="2312885"/>
            <a:ext cx="1297606" cy="517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66193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ue8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923198" y="2312885"/>
            <a:ext cx="1297604" cy="517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40142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923197" y="2312885"/>
            <a:ext cx="1297606" cy="517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9311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ver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228600" y="4828032"/>
            <a:ext cx="6400800" cy="13716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IBM Cloud / 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8780123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7" y="457"/>
            <a:ext cx="9133546" cy="5142583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7B48B5CA-5BC1-8844-81E1-24543A8F2C9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3087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9596131-38DE-3A44-BE82-CDD2A17098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847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22 / © 2022 IBM Corporation</a:t>
            </a:r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6877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36EA217-D975-DE4B-A991-B3A7FEFBAC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187" y="3810"/>
            <a:ext cx="9128406" cy="513969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9FC9FB8B-2D23-D949-963B-B1200DEDE8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54072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7" y="457"/>
            <a:ext cx="9133545" cy="5142583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14C6F24E-1E96-144E-A44F-8124FE9D9BA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70101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7" y="457"/>
            <a:ext cx="9133545" cy="5142582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BE20C7ED-E83C-DE49-B49C-6FE6E39CB33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11253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4791456" y="201168"/>
            <a:ext cx="4123944" cy="42946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228666" y="4800600"/>
            <a:ext cx="4114735" cy="1666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6859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7086601" y="4800600"/>
            <a:ext cx="1828732" cy="1666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20BB8D8-C46D-7A4B-97AF-798F102BA8D4}"/>
              </a:ext>
            </a:extLst>
          </p:cNvPr>
          <p:cNvGrpSpPr/>
          <p:nvPr userDrawn="1"/>
        </p:nvGrpSpPr>
        <p:grpSpPr>
          <a:xfrm>
            <a:off x="-109730" y="-110490"/>
            <a:ext cx="9364220" cy="536448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28219"/>
              <a:ext cx="91440" cy="4686681"/>
              <a:chOff x="-109730" y="228219"/>
              <a:chExt cx="91440" cy="4686681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7451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28219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14900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28219"/>
              <a:ext cx="91440" cy="4685665"/>
              <a:chOff x="-109730" y="221869"/>
              <a:chExt cx="91440" cy="4685665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1101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21869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753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4007807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92" r:id="rId1"/>
    <p:sldLayoutId id="2147483926" r:id="rId2"/>
    <p:sldLayoutId id="2147483935" r:id="rId3"/>
    <p:sldLayoutId id="2147483936" r:id="rId4"/>
    <p:sldLayoutId id="2147483937" r:id="rId5"/>
    <p:sldLayoutId id="2147483925" r:id="rId6"/>
    <p:sldLayoutId id="2147483924" r:id="rId7"/>
    <p:sldLayoutId id="2147483938" r:id="rId8"/>
    <p:sldLayoutId id="2147483939" r:id="rId9"/>
    <p:sldLayoutId id="2147483893" r:id="rId10"/>
    <p:sldLayoutId id="2147483894" r:id="rId11"/>
    <p:sldLayoutId id="2147483895" r:id="rId12"/>
    <p:sldLayoutId id="2147483896" r:id="rId13"/>
    <p:sldLayoutId id="2147483897" r:id="rId14"/>
    <p:sldLayoutId id="2147483898" r:id="rId15"/>
    <p:sldLayoutId id="2147483899" r:id="rId16"/>
    <p:sldLayoutId id="2147483900" r:id="rId17"/>
    <p:sldLayoutId id="2147483901" r:id="rId18"/>
    <p:sldLayoutId id="2147483902" r:id="rId19"/>
    <p:sldLayoutId id="2147483903" r:id="rId20"/>
    <p:sldLayoutId id="2147483904" r:id="rId21"/>
    <p:sldLayoutId id="2147483905" r:id="rId22"/>
    <p:sldLayoutId id="2147483906" r:id="rId23"/>
    <p:sldLayoutId id="2147483907" r:id="rId24"/>
    <p:sldLayoutId id="2147483908" r:id="rId25"/>
    <p:sldLayoutId id="2147483909" r:id="rId26"/>
    <p:sldLayoutId id="2147483910" r:id="rId27"/>
    <p:sldLayoutId id="2147483911" r:id="rId28"/>
    <p:sldLayoutId id="2147483912" r:id="rId29"/>
    <p:sldLayoutId id="2147483913" r:id="rId30"/>
    <p:sldLayoutId id="2147483914" r:id="rId31"/>
    <p:sldLayoutId id="2147483915" r:id="rId32"/>
    <p:sldLayoutId id="2147483916" r:id="rId33"/>
    <p:sldLayoutId id="2147483917" r:id="rId34"/>
    <p:sldLayoutId id="2147483918" r:id="rId35"/>
    <p:sldLayoutId id="2147483919" r:id="rId36"/>
    <p:sldLayoutId id="2147483920" r:id="rId37"/>
    <p:sldLayoutId id="2147483921" r:id="rId38"/>
    <p:sldLayoutId id="2147483922" r:id="rId39"/>
    <p:sldLayoutId id="2147483933" r:id="rId40"/>
    <p:sldLayoutId id="2147483934" r:id="rId41"/>
    <p:sldLayoutId id="2147483923" r:id="rId42"/>
    <p:sldLayoutId id="2147483941" r:id="rId43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5pPr>
      <a:lvl6pPr marL="36256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6pPr>
      <a:lvl7pPr marL="72513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7pPr>
      <a:lvl8pPr marL="108770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8pPr>
      <a:lvl9pPr marL="145027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SzPct val="90000"/>
        <a:buFont typeface="IBM Plex Sans Light" pitchFamily="2" charset="2"/>
        <a:buNone/>
        <a:defRPr sz="1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marL="171452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2pPr>
      <a:lvl3pPr marL="342905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SzPct val="100000"/>
        <a:buFont typeface="IBM Plex Sans Light" panose="020B0604020202020204" pitchFamily="34" charset="0"/>
        <a:buChar char="•"/>
        <a:tabLst/>
        <a:defRPr sz="1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3pPr>
      <a:lvl4pPr marL="628658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400" b="0" i="0" baseline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4pPr>
      <a:lvl5pPr marL="803285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Font typeface="IBM Plex Sans Light" charset="-120"/>
        <a:buChar char="»"/>
        <a:tabLst/>
        <a:defRPr sz="1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5pPr>
      <a:lvl6pPr marL="1583721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IBM Plex Sans Light" charset="0"/>
        </a:defRPr>
      </a:lvl6pPr>
      <a:lvl7pPr marL="1946291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IBM Plex Sans Light" charset="0"/>
        </a:defRPr>
      </a:lvl7pPr>
      <a:lvl8pPr marL="2308860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IBM Plex Sans Light" charset="0"/>
        </a:defRPr>
      </a:lvl8pPr>
      <a:lvl9pPr marL="2671430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IBM Plex Sans Light" charset="0"/>
        </a:defRPr>
      </a:lvl9pPr>
    </p:bodyStyle>
    <p:otherStyle>
      <a:defPPr>
        <a:defRPr lang="en-US"/>
      </a:defPPr>
      <a:lvl1pPr marL="0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1pPr>
      <a:lvl2pPr marL="362568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2pPr>
      <a:lvl3pPr marL="725139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3pPr>
      <a:lvl4pPr marL="1087707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4pPr>
      <a:lvl5pPr marL="1450276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5pPr>
      <a:lvl6pPr marL="1812846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6pPr>
      <a:lvl7pPr marL="2175414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7pPr>
      <a:lvl8pPr marL="2537983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8pPr>
      <a:lvl9pPr marL="2900552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4" userDrawn="1">
          <p15:clr>
            <a:srgbClr val="F26B43"/>
          </p15:clr>
        </p15:guide>
        <p15:guide id="2" pos="144" userDrawn="1">
          <p15:clr>
            <a:srgbClr val="F26B43"/>
          </p15:clr>
        </p15:guide>
        <p15:guide id="3" pos="5616" userDrawn="1">
          <p15:clr>
            <a:srgbClr val="F26B43"/>
          </p15:clr>
        </p15:guide>
        <p15:guide id="4" orient="horz" pos="2832" userDrawn="1">
          <p15:clr>
            <a:srgbClr val="F26B43"/>
          </p15:clr>
        </p15:guide>
        <p15:guide id="5" orient="horz" pos="3094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7" pos="2736" userDrawn="1">
          <p15:clr>
            <a:srgbClr val="F26B43"/>
          </p15:clr>
        </p15:guide>
        <p15:guide id="8" pos="1440" userDrawn="1">
          <p15:clr>
            <a:srgbClr val="F26B43"/>
          </p15:clr>
        </p15:guide>
        <p15:guide id="9" pos="3024" userDrawn="1">
          <p15:clr>
            <a:srgbClr val="F26B43"/>
          </p15:clr>
        </p15:guide>
        <p15:guide id="10" pos="1296" userDrawn="1">
          <p15:clr>
            <a:srgbClr val="F26B43"/>
          </p15:clr>
        </p15:guide>
        <p15:guide id="11" pos="1584" userDrawn="1">
          <p15:clr>
            <a:srgbClr val="F26B43"/>
          </p15:clr>
        </p15:guide>
        <p15:guide id="12" pos="4320" userDrawn="1">
          <p15:clr>
            <a:srgbClr val="F26B43"/>
          </p15:clr>
        </p15:guide>
        <p15:guide id="13" pos="4176" userDrawn="1">
          <p15:clr>
            <a:srgbClr val="F26B43"/>
          </p15:clr>
        </p15:guide>
        <p15:guide id="14" pos="4464" userDrawn="1">
          <p15:clr>
            <a:srgbClr val="F26B43"/>
          </p15:clr>
        </p15:guide>
        <p15:guide id="15" orient="horz" pos="412" userDrawn="1">
          <p15:clr>
            <a:srgbClr val="F26B43"/>
          </p15:clr>
        </p15:guide>
        <p15:guide id="17" orient="horz" pos="812" userDrawn="1">
          <p15:clr>
            <a:srgbClr val="F26B43"/>
          </p15:clr>
        </p15:guide>
        <p15:guide id="18" orient="horz" pos="1620" userDrawn="1">
          <p15:clr>
            <a:srgbClr val="F26B43"/>
          </p15:clr>
        </p15:guide>
        <p15:guide id="19" orient="horz" pos="1216" userDrawn="1">
          <p15:clr>
            <a:srgbClr val="F26B43"/>
          </p15:clr>
        </p15:guide>
        <p15:guide id="20" orient="horz" pos="2022" userDrawn="1">
          <p15:clr>
            <a:srgbClr val="F26B43"/>
          </p15:clr>
        </p15:guide>
        <p15:guide id="21" orient="horz" pos="242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3.xml"/><Relationship Id="rId5" Type="http://schemas.openxmlformats.org/officeDocument/2006/relationships/image" Target="../media/image15.png"/><Relationship Id="rId4" Type="http://schemas.openxmlformats.org/officeDocument/2006/relationships/image" Target="../media/image14.jp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13" Type="http://schemas.openxmlformats.org/officeDocument/2006/relationships/tags" Target="../tags/tag50.xml"/><Relationship Id="rId18" Type="http://schemas.openxmlformats.org/officeDocument/2006/relationships/image" Target="../media/image14.jpg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12" Type="http://schemas.openxmlformats.org/officeDocument/2006/relationships/tags" Target="../tags/tag49.xml"/><Relationship Id="rId17" Type="http://schemas.openxmlformats.org/officeDocument/2006/relationships/image" Target="../media/image13.jpg"/><Relationship Id="rId2" Type="http://schemas.openxmlformats.org/officeDocument/2006/relationships/tags" Target="../tags/tag39.xml"/><Relationship Id="rId16" Type="http://schemas.openxmlformats.org/officeDocument/2006/relationships/slideLayout" Target="../slideLayouts/slideLayout25.xml"/><Relationship Id="rId1" Type="http://schemas.openxmlformats.org/officeDocument/2006/relationships/tags" Target="../tags/tag38.xml"/><Relationship Id="rId6" Type="http://schemas.openxmlformats.org/officeDocument/2006/relationships/tags" Target="../tags/tag43.xml"/><Relationship Id="rId11" Type="http://schemas.openxmlformats.org/officeDocument/2006/relationships/tags" Target="../tags/tag48.xml"/><Relationship Id="rId5" Type="http://schemas.openxmlformats.org/officeDocument/2006/relationships/tags" Target="../tags/tag42.xml"/><Relationship Id="rId15" Type="http://schemas.openxmlformats.org/officeDocument/2006/relationships/tags" Target="../tags/tag52.xml"/><Relationship Id="rId10" Type="http://schemas.openxmlformats.org/officeDocument/2006/relationships/tags" Target="../tags/tag47.xml"/><Relationship Id="rId19" Type="http://schemas.openxmlformats.org/officeDocument/2006/relationships/image" Target="../media/image16.png"/><Relationship Id="rId4" Type="http://schemas.openxmlformats.org/officeDocument/2006/relationships/tags" Target="../tags/tag41.xml"/><Relationship Id="rId9" Type="http://schemas.openxmlformats.org/officeDocument/2006/relationships/tags" Target="../tags/tag46.xml"/><Relationship Id="rId14" Type="http://schemas.openxmlformats.org/officeDocument/2006/relationships/tags" Target="../tags/tag5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notesSlide" Target="../notesSlides/notesSlide2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slideLayout" Target="../slideLayouts/slideLayout1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hyperlink" Target="https://techzone.ibm.com/collection/platinum-demos-predictive-decisioning" TargetMode="Externa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g"/><Relationship Id="rId3" Type="http://schemas.openxmlformats.org/officeDocument/2006/relationships/tags" Target="../tags/tag14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slideLayout" Target="../slideLayouts/slideLayout25.xml"/><Relationship Id="rId5" Type="http://schemas.openxmlformats.org/officeDocument/2006/relationships/tags" Target="../tags/tag16.xml"/><Relationship Id="rId4" Type="http://schemas.openxmlformats.org/officeDocument/2006/relationships/tags" Target="../tags/tag15.xml"/><Relationship Id="rId9" Type="http://schemas.openxmlformats.org/officeDocument/2006/relationships/image" Target="../media/image14.jp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image" Target="../media/image14.jpg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12" Type="http://schemas.openxmlformats.org/officeDocument/2006/relationships/image" Target="../media/image13.jp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11" Type="http://schemas.openxmlformats.org/officeDocument/2006/relationships/slideLayout" Target="../slideLayouts/slideLayout25.xml"/><Relationship Id="rId5" Type="http://schemas.openxmlformats.org/officeDocument/2006/relationships/tags" Target="../tags/tag21.xml"/><Relationship Id="rId10" Type="http://schemas.openxmlformats.org/officeDocument/2006/relationships/tags" Target="../tags/tag26.xml"/><Relationship Id="rId4" Type="http://schemas.openxmlformats.org/officeDocument/2006/relationships/tags" Target="../tags/tag20.xml"/><Relationship Id="rId9" Type="http://schemas.openxmlformats.org/officeDocument/2006/relationships/tags" Target="../tags/tag2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13" Type="http://schemas.openxmlformats.org/officeDocument/2006/relationships/image" Target="../media/image13.jpg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12" Type="http://schemas.openxmlformats.org/officeDocument/2006/relationships/slideLayout" Target="../slideLayouts/slideLayout25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11" Type="http://schemas.openxmlformats.org/officeDocument/2006/relationships/tags" Target="../tags/tag37.xml"/><Relationship Id="rId5" Type="http://schemas.openxmlformats.org/officeDocument/2006/relationships/tags" Target="../tags/tag31.xml"/><Relationship Id="rId10" Type="http://schemas.openxmlformats.org/officeDocument/2006/relationships/tags" Target="../tags/tag36.xml"/><Relationship Id="rId4" Type="http://schemas.openxmlformats.org/officeDocument/2006/relationships/tags" Target="../tags/tag30.xml"/><Relationship Id="rId9" Type="http://schemas.openxmlformats.org/officeDocument/2006/relationships/tags" Target="../tags/tag35.xml"/><Relationship Id="rId14" Type="http://schemas.openxmlformats.org/officeDocument/2006/relationships/image" Target="../media/image14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3.xml"/><Relationship Id="rId4" Type="http://schemas.openxmlformats.org/officeDocument/2006/relationships/image" Target="../media/image14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3.xml"/><Relationship Id="rId5" Type="http://schemas.openxmlformats.org/officeDocument/2006/relationships/image" Target="../media/image15.png"/><Relationship Id="rId4" Type="http://schemas.openxmlformats.org/officeDocument/2006/relationships/image" Target="../media/image14.jp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bm.com/docs/en/cloud-paks/cp-data/4.0?topic=models-autoai" TargetMode="External"/><Relationship Id="rId3" Type="http://schemas.openxmlformats.org/officeDocument/2006/relationships/image" Target="../media/image14.jpg"/><Relationship Id="rId7" Type="http://schemas.openxmlformats.org/officeDocument/2006/relationships/hyperlink" Target="https://www.ibm.com/docs/en/cloud-paks/cp-biz-automation/20.0.x?topic=decisions-integrating-machine-learning" TargetMode="External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17.xml"/><Relationship Id="rId6" Type="http://schemas.openxmlformats.org/officeDocument/2006/relationships/hyperlink" Target="https://www.ibm.com/docs/en/cloud-paks/cp-biz-automation/20.0.x?topic=resources-2003-getting-started-tutorial" TargetMode="External"/><Relationship Id="rId5" Type="http://schemas.openxmlformats.org/officeDocument/2006/relationships/hyperlink" Target="https://www.ibm.com/docs/en/cloud-paks/cp-biz-automation/20.0.x?topic=decisions-modeling" TargetMode="External"/><Relationship Id="rId4" Type="http://schemas.openxmlformats.org/officeDocument/2006/relationships/hyperlink" Target="https://www.ibm.com/docs/en/cloud-paks/cp-biz-automation/20.0.x?topic=decisions-what-is-automation-decision-services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icture containing blur&#10;&#10;Description automatically generated">
            <a:extLst>
              <a:ext uri="{FF2B5EF4-FFF2-40B4-BE49-F238E27FC236}">
                <a16:creationId xmlns:a16="http://schemas.microsoft.com/office/drawing/2014/main" id="{9248A943-7586-A342-8A23-BA5EFE9C058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7" name="Picture 6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7609E39F-C2F6-3441-964F-08C396BB6578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15" name="Title">
            <a:extLst>
              <a:ext uri="{FF2B5EF4-FFF2-40B4-BE49-F238E27FC236}">
                <a16:creationId xmlns:a16="http://schemas.microsoft.com/office/drawing/2014/main" id="{2957EB19-7404-0245-BE19-789038684254}"/>
              </a:ext>
            </a:extLst>
          </p:cNvPr>
          <p:cNvSpPr txBox="1">
            <a:spLocks/>
          </p:cNvSpPr>
          <p:nvPr/>
        </p:nvSpPr>
        <p:spPr>
          <a:xfrm>
            <a:off x="266700" y="253999"/>
            <a:ext cx="4039293" cy="1181101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5pPr>
            <a:lvl6pPr marL="36256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6pPr>
            <a:lvl7pPr marL="72513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7pPr>
            <a:lvl8pPr marL="108770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8pPr>
            <a:lvl9pPr marL="145027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utomation </a:t>
            </a:r>
            <a:r>
              <a:rPr kumimoji="0" lang="en-US" sz="140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latinum</a:t>
            </a:r>
            <a:r>
              <a:rPr kumimoji="0" lang="en-US" sz="14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Demo</a:t>
            </a: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redictive decisioning</a:t>
            </a:r>
            <a:br>
              <a:rPr kumimoji="0" lang="en-US" sz="3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</a:b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1AD0B242-3213-8547-8C3F-3FF3BED0EB2C}"/>
              </a:ext>
            </a:extLst>
          </p:cNvPr>
          <p:cNvSpPr txBox="1">
            <a:spLocks/>
          </p:cNvSpPr>
          <p:nvPr/>
        </p:nvSpPr>
        <p:spPr>
          <a:xfrm>
            <a:off x="0" y="2272793"/>
            <a:ext cx="9144000" cy="1435608"/>
          </a:xfrm>
          <a:prstGeom prst="rect">
            <a:avLst/>
          </a:prstGeom>
        </p:spPr>
        <p:txBody>
          <a:bodyPr lIns="0" rIns="0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5pPr>
            <a:lvl6pPr marL="36256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6pPr>
            <a:lvl7pPr marL="72513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7pPr>
            <a:lvl8pPr marL="108770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8pPr>
            <a:lvl9pPr marL="145027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troduction </a:t>
            </a:r>
            <a:r>
              <a:rPr lang="en-US" sz="4000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overview</a:t>
            </a:r>
          </a:p>
        </p:txBody>
      </p:sp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6453253C-8EA9-B247-8830-64D0A0EDB5C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1082" r="21250"/>
          <a:stretch/>
        </p:blipFill>
        <p:spPr>
          <a:xfrm>
            <a:off x="8375650" y="4495800"/>
            <a:ext cx="550847" cy="635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204931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Picture 38" descr="A picture containing blur&#10;&#10;Description automatically generated">
            <a:extLst>
              <a:ext uri="{FF2B5EF4-FFF2-40B4-BE49-F238E27FC236}">
                <a16:creationId xmlns:a16="http://schemas.microsoft.com/office/drawing/2014/main" id="{F512B3E7-7F91-BFA1-2FB4-CF33105D0507}"/>
              </a:ext>
            </a:extLst>
          </p:cNvPr>
          <p:cNvPicPr>
            <a:picLocks noChangeAspect="1"/>
          </p:cNvPicPr>
          <p:nvPr/>
        </p:nvPicPr>
        <p:blipFill>
          <a:blip r:embed="rId17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40" name="Picture 39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B5B476FB-53CD-A178-C50C-ADA2B1C1C705}"/>
              </a:ext>
            </a:extLst>
          </p:cNvPr>
          <p:cNvPicPr>
            <a:picLocks noChangeAspect="1"/>
          </p:cNvPicPr>
          <p:nvPr/>
        </p:nvPicPr>
        <p:blipFill>
          <a:blip r:embed="rId18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4A17FE-E30C-884E-8600-EBD9A3446D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8B93F4D-3644-8E45-8CAC-5EE08EA2E2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8"/>
            <a:ext cx="6210586" cy="369057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 architecture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tangle 4">
            <a:extLst>
              <a:ext uri="{FF2B5EF4-FFF2-40B4-BE49-F238E27FC236}">
                <a16:creationId xmlns:a16="http://schemas.microsoft.com/office/drawing/2014/main" id="{CD01648A-A085-8D40-8273-2F1784BB73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49186" y="900219"/>
            <a:ext cx="4005072" cy="373075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91440" anchor="t"/>
          <a:lstStyle>
            <a:lvl1pPr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defTabSz="685808">
              <a:tabLst>
                <a:tab pos="1489094" algn="l"/>
              </a:tabLst>
              <a:defRPr/>
            </a:pPr>
            <a:endParaRPr lang="en-GB" altLang="ja-JP" sz="1200" b="1" kern="0" dirty="0">
              <a:latin typeface="+mn-lt"/>
              <a:ea typeface="+mn-ea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82CB251D-53B5-D44E-B110-99AFAED42FCC}"/>
              </a:ext>
            </a:extLst>
          </p:cNvPr>
          <p:cNvSpPr txBox="1"/>
          <p:nvPr/>
        </p:nvSpPr>
        <p:spPr>
          <a:xfrm>
            <a:off x="537520" y="4167103"/>
            <a:ext cx="400507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200" kern="0" dirty="0">
                <a:latin typeface="Arial" panose="020B0604020202020204" pitchFamily="34" charset="0"/>
                <a:cs typeface="Arial" panose="020B0604020202020204" pitchFamily="34" charset="0"/>
              </a:rPr>
              <a:t>Cloud Pak for Business Automation</a:t>
            </a:r>
          </a:p>
        </p:txBody>
      </p:sp>
      <p:sp>
        <p:nvSpPr>
          <p:cNvPr id="11" name="Rectangle 4">
            <a:extLst>
              <a:ext uri="{FF2B5EF4-FFF2-40B4-BE49-F238E27FC236}">
                <a16:creationId xmlns:a16="http://schemas.microsoft.com/office/drawing/2014/main" id="{2DB263F8-D66A-2049-9529-3C72EEA6D2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707201" y="900219"/>
            <a:ext cx="4005072" cy="373075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91440" anchor="t"/>
          <a:lstStyle>
            <a:lvl1pPr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defTabSz="685808">
              <a:tabLst>
                <a:tab pos="1489094" algn="l"/>
              </a:tabLst>
              <a:defRPr/>
            </a:pPr>
            <a:endParaRPr lang="en-GB" altLang="ja-JP" sz="1200" b="1" kern="0" dirty="0">
              <a:latin typeface="+mn-lt"/>
              <a:ea typeface="+mn-ea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9B1E71B-274B-4145-931F-9E782EC9FA1E}"/>
              </a:ext>
            </a:extLst>
          </p:cNvPr>
          <p:cNvSpPr txBox="1"/>
          <p:nvPr/>
        </p:nvSpPr>
        <p:spPr>
          <a:xfrm>
            <a:off x="4707202" y="4167103"/>
            <a:ext cx="400507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200" kern="0" dirty="0">
                <a:latin typeface="Arial" panose="020B0604020202020204" pitchFamily="34" charset="0"/>
                <a:cs typeface="Arial" panose="020B0604020202020204" pitchFamily="34" charset="0"/>
              </a:rPr>
              <a:t>Cloud Pak for Data</a:t>
            </a:r>
          </a:p>
        </p:txBody>
      </p:sp>
      <p:sp>
        <p:nvSpPr>
          <p:cNvPr id="36" name="Rectangle 3">
            <a:extLst>
              <a:ext uri="{FF2B5EF4-FFF2-40B4-BE49-F238E27FC236}">
                <a16:creationId xmlns:a16="http://schemas.microsoft.com/office/drawing/2014/main" id="{AF0B8DCE-3E91-E146-B96C-4D87C4343B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97280" y="3340225"/>
            <a:ext cx="1464926" cy="685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w-code</a:t>
            </a:r>
            <a:br>
              <a:rPr lang="en-US" sz="1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ication building</a:t>
            </a:r>
          </a:p>
        </p:txBody>
      </p:sp>
      <p:sp>
        <p:nvSpPr>
          <p:cNvPr id="38" name="Rectangle 3">
            <a:extLst>
              <a:ext uri="{FF2B5EF4-FFF2-40B4-BE49-F238E27FC236}">
                <a16:creationId xmlns:a16="http://schemas.microsoft.com/office/drawing/2014/main" id="{35B4C1DC-B859-D149-888E-0BCF81D520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97280" y="2608213"/>
            <a:ext cx="1463040" cy="56692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kyTalk Call Center</a:t>
            </a:r>
            <a:br>
              <a:rPr lang="en-US" sz="1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ication project</a:t>
            </a:r>
          </a:p>
        </p:txBody>
      </p:sp>
      <p:sp>
        <p:nvSpPr>
          <p:cNvPr id="24" name="Rectangle 3">
            <a:extLst>
              <a:ext uri="{FF2B5EF4-FFF2-40B4-BE49-F238E27FC236}">
                <a16:creationId xmlns:a16="http://schemas.microsoft.com/office/drawing/2014/main" id="{B262E3D1-CCD7-3511-FE07-F2DEAF4C23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042612" y="3342192"/>
            <a:ext cx="1386633" cy="685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ision authoring</a:t>
            </a:r>
            <a:br>
              <a:rPr lang="en-US" sz="1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business rules)</a:t>
            </a:r>
          </a:p>
        </p:txBody>
      </p:sp>
      <p:pic>
        <p:nvPicPr>
          <p:cNvPr id="25" name="Picture 24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945F16A6-DBC0-4EC6-3DE5-73146991C298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699166" y="1292438"/>
            <a:ext cx="1463040" cy="899925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</p:pic>
      <p:sp>
        <p:nvSpPr>
          <p:cNvPr id="26" name="Rectangle 3">
            <a:extLst>
              <a:ext uri="{FF2B5EF4-FFF2-40B4-BE49-F238E27FC236}">
                <a16:creationId xmlns:a16="http://schemas.microsoft.com/office/drawing/2014/main" id="{D39176BB-FF89-7EF9-8E0C-1022E52D46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042611" y="2619519"/>
            <a:ext cx="1386633" cy="56692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er retention</a:t>
            </a:r>
            <a:br>
              <a:rPr lang="en-US" sz="1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ision project </a:t>
            </a:r>
          </a:p>
        </p:txBody>
      </p:sp>
      <p:cxnSp>
        <p:nvCxnSpPr>
          <p:cNvPr id="50" name="Elbow Connector 49">
            <a:extLst>
              <a:ext uri="{FF2B5EF4-FFF2-40B4-BE49-F238E27FC236}">
                <a16:creationId xmlns:a16="http://schemas.microsoft.com/office/drawing/2014/main" id="{CB17D710-E88F-224D-940C-16888C6ECE8D}"/>
              </a:ext>
            </a:extLst>
          </p:cNvPr>
          <p:cNvCxnSpPr>
            <a:cxnSpLocks/>
            <a:stCxn id="38" idx="0"/>
            <a:endCxn id="25" idx="2"/>
          </p:cNvCxnSpPr>
          <p:nvPr/>
        </p:nvCxnSpPr>
        <p:spPr>
          <a:xfrm rot="5400000" flipH="1" flipV="1">
            <a:off x="1221818" y="2399345"/>
            <a:ext cx="415850" cy="1886"/>
          </a:xfrm>
          <a:prstGeom prst="bentConnector3">
            <a:avLst>
              <a:gd name="adj1" fmla="val 50000"/>
            </a:avLst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Elbow Connector 55">
            <a:extLst>
              <a:ext uri="{FF2B5EF4-FFF2-40B4-BE49-F238E27FC236}">
                <a16:creationId xmlns:a16="http://schemas.microsoft.com/office/drawing/2014/main" id="{28C8ABA6-4D34-C5E0-C3B1-372C6A7BCAED}"/>
              </a:ext>
            </a:extLst>
          </p:cNvPr>
          <p:cNvCxnSpPr>
            <a:cxnSpLocks/>
          </p:cNvCxnSpPr>
          <p:nvPr/>
        </p:nvCxnSpPr>
        <p:spPr>
          <a:xfrm rot="16200000" flipV="1">
            <a:off x="3151978" y="1962588"/>
            <a:ext cx="447594" cy="869775"/>
          </a:xfrm>
          <a:prstGeom prst="bentConnector3">
            <a:avLst>
              <a:gd name="adj1" fmla="val 50000"/>
            </a:avLst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Elbow Connector 58">
            <a:extLst>
              <a:ext uri="{FF2B5EF4-FFF2-40B4-BE49-F238E27FC236}">
                <a16:creationId xmlns:a16="http://schemas.microsoft.com/office/drawing/2014/main" id="{5769489D-7600-9707-AA89-DE1381BBCFFC}"/>
              </a:ext>
            </a:extLst>
          </p:cNvPr>
          <p:cNvCxnSpPr>
            <a:cxnSpLocks/>
          </p:cNvCxnSpPr>
          <p:nvPr/>
        </p:nvCxnSpPr>
        <p:spPr>
          <a:xfrm rot="5400000">
            <a:off x="3886695" y="2219048"/>
            <a:ext cx="493776" cy="303666"/>
          </a:xfrm>
          <a:prstGeom prst="bentConnector3">
            <a:avLst>
              <a:gd name="adj1" fmla="val 55681"/>
            </a:avLst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3">
            <a:extLst>
              <a:ext uri="{FF2B5EF4-FFF2-40B4-BE49-F238E27FC236}">
                <a16:creationId xmlns:a16="http://schemas.microsoft.com/office/drawing/2014/main" id="{B9E968BA-3ABD-7D1C-A48A-9C8AE1F3F9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461559" y="1604997"/>
            <a:ext cx="957017" cy="56692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L provider</a:t>
            </a:r>
          </a:p>
        </p:txBody>
      </p:sp>
      <p:cxnSp>
        <p:nvCxnSpPr>
          <p:cNvPr id="75" name="Elbow Connector 74">
            <a:extLst>
              <a:ext uri="{FF2B5EF4-FFF2-40B4-BE49-F238E27FC236}">
                <a16:creationId xmlns:a16="http://schemas.microsoft.com/office/drawing/2014/main" id="{77647878-9D7B-53F7-42EB-37E215CD1BDF}"/>
              </a:ext>
            </a:extLst>
          </p:cNvPr>
          <p:cNvCxnSpPr>
            <a:cxnSpLocks/>
            <a:endCxn id="38" idx="3"/>
          </p:cNvCxnSpPr>
          <p:nvPr/>
        </p:nvCxnSpPr>
        <p:spPr>
          <a:xfrm rot="16200000" flipV="1">
            <a:off x="2079811" y="2972186"/>
            <a:ext cx="448548" cy="287530"/>
          </a:xfrm>
          <a:prstGeom prst="bentConnector2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Elbow Connector 81">
            <a:extLst>
              <a:ext uri="{FF2B5EF4-FFF2-40B4-BE49-F238E27FC236}">
                <a16:creationId xmlns:a16="http://schemas.microsoft.com/office/drawing/2014/main" id="{367634E3-A1EC-7A23-429D-08B46DD484FE}"/>
              </a:ext>
            </a:extLst>
          </p:cNvPr>
          <p:cNvCxnSpPr>
            <a:cxnSpLocks/>
            <a:stCxn id="30" idx="1"/>
            <a:endCxn id="28" idx="3"/>
          </p:cNvCxnSpPr>
          <p:nvPr/>
        </p:nvCxnSpPr>
        <p:spPr>
          <a:xfrm rot="10800000">
            <a:off x="4418577" y="1888461"/>
            <a:ext cx="859429" cy="279462"/>
          </a:xfrm>
          <a:prstGeom prst="bentConnector3">
            <a:avLst>
              <a:gd name="adj1" fmla="val 50000"/>
            </a:avLst>
          </a:prstGeom>
          <a:ln>
            <a:solidFill>
              <a:schemeClr val="accent1"/>
            </a:solidFill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3" name="Elbow Connector 82">
            <a:extLst>
              <a:ext uri="{FF2B5EF4-FFF2-40B4-BE49-F238E27FC236}">
                <a16:creationId xmlns:a16="http://schemas.microsoft.com/office/drawing/2014/main" id="{534A523F-4EBD-1759-FAC9-2B75949A3F2F}"/>
              </a:ext>
            </a:extLst>
          </p:cNvPr>
          <p:cNvCxnSpPr>
            <a:cxnSpLocks/>
            <a:stCxn id="32" idx="1"/>
            <a:endCxn id="28" idx="3"/>
          </p:cNvCxnSpPr>
          <p:nvPr/>
        </p:nvCxnSpPr>
        <p:spPr>
          <a:xfrm rot="10800000" flipV="1">
            <a:off x="4418577" y="1466517"/>
            <a:ext cx="859427" cy="421943"/>
          </a:xfrm>
          <a:prstGeom prst="bentConnector3">
            <a:avLst>
              <a:gd name="adj1" fmla="val 50000"/>
            </a:avLst>
          </a:prstGeom>
          <a:ln>
            <a:solidFill>
              <a:schemeClr val="accent1"/>
            </a:solidFill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6" name="Group 5">
            <a:extLst>
              <a:ext uri="{FF2B5EF4-FFF2-40B4-BE49-F238E27FC236}">
                <a16:creationId xmlns:a16="http://schemas.microsoft.com/office/drawing/2014/main" id="{D86C9B0A-F3BD-B3CD-38E9-BC065EE27D6C}"/>
              </a:ext>
            </a:extLst>
          </p:cNvPr>
          <p:cNvGrpSpPr/>
          <p:nvPr/>
        </p:nvGrpSpPr>
        <p:grpSpPr>
          <a:xfrm>
            <a:off x="5045209" y="1178994"/>
            <a:ext cx="3096263" cy="2007453"/>
            <a:chOff x="4979111" y="1466511"/>
            <a:chExt cx="3096263" cy="2007453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0B7990D9-204F-5509-B0A4-3FC3A7D0F4D3}"/>
                </a:ext>
              </a:extLst>
            </p:cNvPr>
            <p:cNvGrpSpPr/>
            <p:nvPr/>
          </p:nvGrpSpPr>
          <p:grpSpPr>
            <a:xfrm>
              <a:off x="5211905" y="1469875"/>
              <a:ext cx="1201866" cy="1269725"/>
              <a:chOff x="5211905" y="1469875"/>
              <a:chExt cx="1201866" cy="1269725"/>
            </a:xfrm>
          </p:grpSpPr>
          <p:sp>
            <p:nvSpPr>
              <p:cNvPr id="30" name="Rectangle 3">
                <a:extLst>
                  <a:ext uri="{FF2B5EF4-FFF2-40B4-BE49-F238E27FC236}">
                    <a16:creationId xmlns:a16="http://schemas.microsoft.com/office/drawing/2014/main" id="{B8915C06-A20A-9C37-D253-58E48B3E7DF4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5211907" y="2171280"/>
                <a:ext cx="1201864" cy="56832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wrap="none" anchor="ctr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marL="0" lvl="1" indent="0" algn="ctr" defTabSz="914400" fontAlgn="base">
                  <a:spcBef>
                    <a:spcPts val="1100"/>
                  </a:spcBef>
                  <a:spcAft>
                    <a:spcPct val="0"/>
                  </a:spcAft>
                  <a:buClr>
                    <a:schemeClr val="bg1"/>
                  </a:buClr>
                  <a:buSzPct val="100000"/>
                </a:pPr>
                <a:r>
                  <a:rPr lang="en-US" sz="10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Churn prediction</a:t>
                </a:r>
                <a:br>
                  <a:rPr lang="en-US" sz="1000" kern="0" dirty="0"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US" sz="10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service</a:t>
                </a:r>
              </a:p>
            </p:txBody>
          </p:sp>
          <p:sp>
            <p:nvSpPr>
              <p:cNvPr id="32" name="Rectangle 3">
                <a:extLst>
                  <a:ext uri="{FF2B5EF4-FFF2-40B4-BE49-F238E27FC236}">
                    <a16:creationId xmlns:a16="http://schemas.microsoft.com/office/drawing/2014/main" id="{E4DC9E64-96AC-0830-CD72-DB67E875C195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5211905" y="1469875"/>
                <a:ext cx="1201865" cy="56832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wrap="none" anchor="ctr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marL="0" lvl="1" indent="0" algn="ctr" defTabSz="914400" fontAlgn="base">
                  <a:spcBef>
                    <a:spcPts val="1100"/>
                  </a:spcBef>
                  <a:spcAft>
                    <a:spcPct val="0"/>
                  </a:spcAft>
                  <a:buClr>
                    <a:schemeClr val="bg1"/>
                  </a:buClr>
                  <a:buSzPct val="100000"/>
                </a:pPr>
                <a:r>
                  <a:rPr lang="en-US" sz="10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Lifetime value</a:t>
                </a:r>
                <a:br>
                  <a:rPr lang="en-US" sz="1000" kern="0" dirty="0"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US" sz="10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prediction</a:t>
                </a:r>
                <a:br>
                  <a:rPr lang="en-US" sz="1000" kern="0" dirty="0"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US" sz="10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service</a:t>
                </a:r>
              </a:p>
            </p:txBody>
          </p:sp>
        </p:grp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01305205-2F9C-6F8B-D534-7F2B30B9454B}"/>
                </a:ext>
              </a:extLst>
            </p:cNvPr>
            <p:cNvGrpSpPr/>
            <p:nvPr/>
          </p:nvGrpSpPr>
          <p:grpSpPr>
            <a:xfrm>
              <a:off x="6877510" y="1466511"/>
              <a:ext cx="1197864" cy="1268472"/>
              <a:chOff x="6877510" y="1466511"/>
              <a:chExt cx="1197864" cy="1268472"/>
            </a:xfrm>
          </p:grpSpPr>
          <p:sp>
            <p:nvSpPr>
              <p:cNvPr id="34" name="Rectangle 3">
                <a:extLst>
                  <a:ext uri="{FF2B5EF4-FFF2-40B4-BE49-F238E27FC236}">
                    <a16:creationId xmlns:a16="http://schemas.microsoft.com/office/drawing/2014/main" id="{E81AD3D2-B522-D544-4258-08FED2A5F03E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6877510" y="1466511"/>
                <a:ext cx="1197864" cy="56832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none" anchor="ctr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marL="0" lvl="1" indent="0" algn="ctr" defTabSz="914400" fontAlgn="base">
                  <a:spcBef>
                    <a:spcPts val="1100"/>
                  </a:spcBef>
                  <a:spcAft>
                    <a:spcPct val="0"/>
                  </a:spcAft>
                  <a:buClr>
                    <a:schemeClr val="bg1"/>
                  </a:buClr>
                  <a:buSzPct val="100000"/>
                </a:pPr>
                <a:r>
                  <a:rPr lang="en-US" sz="1000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Lifetime value</a:t>
                </a:r>
                <a:br>
                  <a:rPr lang="en-US" sz="1000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US" sz="1000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L model</a:t>
                </a:r>
              </a:p>
            </p:txBody>
          </p:sp>
          <p:sp>
            <p:nvSpPr>
              <p:cNvPr id="46" name="Rectangle 3">
                <a:extLst>
                  <a:ext uri="{FF2B5EF4-FFF2-40B4-BE49-F238E27FC236}">
                    <a16:creationId xmlns:a16="http://schemas.microsoft.com/office/drawing/2014/main" id="{6C2AA768-3E71-8E0A-42CF-433FF4D61C57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6877510" y="2168055"/>
                <a:ext cx="1197864" cy="56692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none" anchor="ctr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marL="0" lvl="1" indent="0" algn="ctr" defTabSz="914400" fontAlgn="base">
                  <a:spcBef>
                    <a:spcPts val="1100"/>
                  </a:spcBef>
                  <a:spcAft>
                    <a:spcPct val="0"/>
                  </a:spcAft>
                  <a:buClr>
                    <a:schemeClr val="bg1"/>
                  </a:buClr>
                  <a:buSzPct val="100000"/>
                </a:pPr>
                <a:r>
                  <a:rPr lang="en-US" sz="1000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hurn ML model</a:t>
                </a:r>
              </a:p>
            </p:txBody>
          </p:sp>
        </p:grpSp>
        <p:sp>
          <p:nvSpPr>
            <p:cNvPr id="47" name="Rectangle 3">
              <a:extLst>
                <a:ext uri="{FF2B5EF4-FFF2-40B4-BE49-F238E27FC236}">
                  <a16:creationId xmlns:a16="http://schemas.microsoft.com/office/drawing/2014/main" id="{3484517B-3230-B1E6-7A9E-9D502D83221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4979111" y="2905644"/>
              <a:ext cx="1201865" cy="56832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000" kern="0" dirty="0">
                  <a:latin typeface="Arial" panose="020B0604020202020204" pitchFamily="34" charset="0"/>
                  <a:cs typeface="Arial" panose="020B0604020202020204" pitchFamily="34" charset="0"/>
                </a:rPr>
                <a:t>Data CSV files</a:t>
              </a:r>
            </a:p>
          </p:txBody>
        </p:sp>
      </p:grpSp>
      <p:cxnSp>
        <p:nvCxnSpPr>
          <p:cNvPr id="88" name="Elbow Connector 87">
            <a:extLst>
              <a:ext uri="{FF2B5EF4-FFF2-40B4-BE49-F238E27FC236}">
                <a16:creationId xmlns:a16="http://schemas.microsoft.com/office/drawing/2014/main" id="{436054A6-B5C8-166A-AF9C-C2CCC1A8DDEE}"/>
              </a:ext>
            </a:extLst>
          </p:cNvPr>
          <p:cNvCxnSpPr>
            <a:cxnSpLocks/>
            <a:stCxn id="34" idx="1"/>
            <a:endCxn id="32" idx="3"/>
          </p:cNvCxnSpPr>
          <p:nvPr/>
        </p:nvCxnSpPr>
        <p:spPr>
          <a:xfrm rot="10800000" flipV="1">
            <a:off x="6479868" y="1463154"/>
            <a:ext cx="463740" cy="3364"/>
          </a:xfrm>
          <a:prstGeom prst="bentConnector3">
            <a:avLst>
              <a:gd name="adj1" fmla="val -7046"/>
            </a:avLst>
          </a:prstGeom>
          <a:ln>
            <a:solidFill>
              <a:schemeClr val="accent1"/>
            </a:solidFill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2" name="Elbow Connector 91">
            <a:extLst>
              <a:ext uri="{FF2B5EF4-FFF2-40B4-BE49-F238E27FC236}">
                <a16:creationId xmlns:a16="http://schemas.microsoft.com/office/drawing/2014/main" id="{C157E7A7-7103-1887-C019-6EC976BB8A3C}"/>
              </a:ext>
            </a:extLst>
          </p:cNvPr>
          <p:cNvCxnSpPr>
            <a:cxnSpLocks/>
            <a:stCxn id="46" idx="1"/>
            <a:endCxn id="30" idx="3"/>
          </p:cNvCxnSpPr>
          <p:nvPr/>
        </p:nvCxnSpPr>
        <p:spPr>
          <a:xfrm rot="10800000" flipV="1">
            <a:off x="6479870" y="2164001"/>
            <a:ext cx="463739" cy="3921"/>
          </a:xfrm>
          <a:prstGeom prst="bentConnector3">
            <a:avLst>
              <a:gd name="adj1" fmla="val -23167"/>
            </a:avLst>
          </a:prstGeom>
          <a:ln>
            <a:solidFill>
              <a:schemeClr val="accent1"/>
            </a:solidFill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7" name="Elbow Connector 96">
            <a:extLst>
              <a:ext uri="{FF2B5EF4-FFF2-40B4-BE49-F238E27FC236}">
                <a16:creationId xmlns:a16="http://schemas.microsoft.com/office/drawing/2014/main" id="{05C32277-E4CD-9B79-0499-2CBEA58B4F78}"/>
              </a:ext>
            </a:extLst>
          </p:cNvPr>
          <p:cNvCxnSpPr>
            <a:cxnSpLocks/>
          </p:cNvCxnSpPr>
          <p:nvPr/>
        </p:nvCxnSpPr>
        <p:spPr>
          <a:xfrm rot="16200000" flipV="1">
            <a:off x="7843546" y="1761081"/>
            <a:ext cx="825721" cy="229867"/>
          </a:xfrm>
          <a:prstGeom prst="bentConnector2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Elbow Connector 100">
            <a:extLst>
              <a:ext uri="{FF2B5EF4-FFF2-40B4-BE49-F238E27FC236}">
                <a16:creationId xmlns:a16="http://schemas.microsoft.com/office/drawing/2014/main" id="{BB5C69EF-121F-809F-60E0-0576385E8B37}"/>
              </a:ext>
            </a:extLst>
          </p:cNvPr>
          <p:cNvCxnSpPr>
            <a:cxnSpLocks/>
            <a:stCxn id="47" idx="3"/>
          </p:cNvCxnSpPr>
          <p:nvPr/>
        </p:nvCxnSpPr>
        <p:spPr>
          <a:xfrm>
            <a:off x="6247074" y="2902287"/>
            <a:ext cx="152943" cy="530452"/>
          </a:xfrm>
          <a:prstGeom prst="bentConnector2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Elbow Connector 106">
            <a:extLst>
              <a:ext uri="{FF2B5EF4-FFF2-40B4-BE49-F238E27FC236}">
                <a16:creationId xmlns:a16="http://schemas.microsoft.com/office/drawing/2014/main" id="{47E4B6E2-28FB-BB93-0258-851802CDDC1F}"/>
              </a:ext>
            </a:extLst>
          </p:cNvPr>
          <p:cNvCxnSpPr>
            <a:cxnSpLocks/>
            <a:stCxn id="29" idx="0"/>
            <a:endCxn id="46" idx="3"/>
          </p:cNvCxnSpPr>
          <p:nvPr/>
        </p:nvCxnSpPr>
        <p:spPr>
          <a:xfrm rot="5400000" flipH="1" flipV="1">
            <a:off x="6837493" y="2036247"/>
            <a:ext cx="1176223" cy="1431735"/>
          </a:xfrm>
          <a:prstGeom prst="bentConnector4">
            <a:avLst>
              <a:gd name="adj1" fmla="val 37950"/>
              <a:gd name="adj2" fmla="val 115967"/>
            </a:avLst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tangle 3">
            <a:extLst>
              <a:ext uri="{FF2B5EF4-FFF2-40B4-BE49-F238E27FC236}">
                <a16:creationId xmlns:a16="http://schemas.microsoft.com/office/drawing/2014/main" id="{24C667A5-AB5F-5881-8BA7-F5B9EACFD3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209040" y="3340225"/>
            <a:ext cx="786738" cy="685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ision runtime</a:t>
            </a:r>
          </a:p>
        </p:txBody>
      </p:sp>
      <p:cxnSp>
        <p:nvCxnSpPr>
          <p:cNvPr id="98" name="Elbow Connector 97">
            <a:extLst>
              <a:ext uri="{FF2B5EF4-FFF2-40B4-BE49-F238E27FC236}">
                <a16:creationId xmlns:a16="http://schemas.microsoft.com/office/drawing/2014/main" id="{B9B0872C-BB53-F091-A094-A027B8369B7E}"/>
              </a:ext>
            </a:extLst>
          </p:cNvPr>
          <p:cNvCxnSpPr>
            <a:cxnSpLocks/>
            <a:stCxn id="68" idx="0"/>
          </p:cNvCxnSpPr>
          <p:nvPr/>
        </p:nvCxnSpPr>
        <p:spPr>
          <a:xfrm rot="5400000" flipH="1" flipV="1">
            <a:off x="2014297" y="2752113"/>
            <a:ext cx="1176224" cy="1"/>
          </a:xfrm>
          <a:prstGeom prst="bentConnector3">
            <a:avLst>
              <a:gd name="adj1" fmla="val 50000"/>
            </a:avLst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3">
            <a:extLst>
              <a:ext uri="{FF2B5EF4-FFF2-40B4-BE49-F238E27FC236}">
                <a16:creationId xmlns:a16="http://schemas.microsoft.com/office/drawing/2014/main" id="{56D1E0C1-34CB-3FC2-D3B4-B6A3C71A5C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5045209" y="3340225"/>
            <a:ext cx="3329056" cy="68485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tson Machine Learning</a:t>
            </a:r>
          </a:p>
        </p:txBody>
      </p:sp>
      <p:sp>
        <p:nvSpPr>
          <p:cNvPr id="27" name="Rectangle 3">
            <a:extLst>
              <a:ext uri="{FF2B5EF4-FFF2-40B4-BE49-F238E27FC236}">
                <a16:creationId xmlns:a16="http://schemas.microsoft.com/office/drawing/2014/main" id="{F6E024BF-08B1-BFD1-40F3-8ACC7CDC09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2286033" y="1606050"/>
            <a:ext cx="1028411" cy="56692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000" kern="0" dirty="0">
                <a:latin typeface="Arial" panose="020B0604020202020204" pitchFamily="34" charset="0"/>
                <a:cs typeface="Arial" panose="020B0604020202020204" pitchFamily="34" charset="0"/>
              </a:rPr>
              <a:t>Retention</a:t>
            </a:r>
            <a:br>
              <a:rPr lang="en-US" sz="1000" kern="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000" kern="0" dirty="0">
                <a:latin typeface="Arial" panose="020B0604020202020204" pitchFamily="34" charset="0"/>
                <a:cs typeface="Arial" panose="020B0604020202020204" pitchFamily="34" charset="0"/>
              </a:rPr>
              <a:t>decision</a:t>
            </a:r>
            <a:br>
              <a:rPr lang="en-US" sz="1000" kern="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000" kern="0" dirty="0">
                <a:latin typeface="Arial" panose="020B0604020202020204" pitchFamily="34" charset="0"/>
                <a:cs typeface="Arial" panose="020B0604020202020204" pitchFamily="34" charset="0"/>
              </a:rPr>
              <a:t>service</a:t>
            </a:r>
          </a:p>
        </p:txBody>
      </p:sp>
    </p:spTree>
    <p:extLst>
      <p:ext uri="{BB962C8B-B14F-4D97-AF65-F5344CB8AC3E}">
        <p14:creationId xmlns:p14="http://schemas.microsoft.com/office/powerpoint/2010/main" val="17654708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Table 8">
            <a:extLst>
              <a:ext uri="{FF2B5EF4-FFF2-40B4-BE49-F238E27FC236}">
                <a16:creationId xmlns:a16="http://schemas.microsoft.com/office/drawing/2014/main" id="{89BFF9BB-0B7A-2884-3C28-A924550A1E0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2616820"/>
              </p:ext>
            </p:extLst>
          </p:nvPr>
        </p:nvGraphicFramePr>
        <p:xfrm>
          <a:off x="228665" y="692448"/>
          <a:ext cx="8705023" cy="2707640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2412935">
                  <a:extLst>
                    <a:ext uri="{9D8B030D-6E8A-4147-A177-3AD203B41FA5}">
                      <a16:colId xmlns:a16="http://schemas.microsoft.com/office/drawing/2014/main" val="843429630"/>
                    </a:ext>
                  </a:extLst>
                </a:gridCol>
                <a:gridCol w="6292088">
                  <a:extLst>
                    <a:ext uri="{9D8B030D-6E8A-4147-A177-3AD203B41FA5}">
                      <a16:colId xmlns:a16="http://schemas.microsoft.com/office/drawing/2014/main" val="50400588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urpose of this deck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25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is deck is to be shown to customers to introduce and summarize the </a:t>
                      </a:r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dictive decisioning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mo.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61591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cenario overview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25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he demo uses a customer call center example to illustrate how the Cloud Pak for Business Automation integrates machine learning with business rules to improve real-time decisions.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46936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duct(s) in the demo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loud Pak for Business Automation; Cloud Pak for Data (machine learning capability)</a:t>
                      </a:r>
                      <a:endParaRPr lang="en-US" sz="1100" i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49727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apabilities to be demonstrated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25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cision management; Predictive analytic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12165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upported product version(s)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25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loud Pak for Business Automation 21.0.2; Cloud Pak for Data as a Service</a:t>
                      </a:r>
                      <a:endParaRPr lang="en-US" sz="1100" kern="1200" dirty="0">
                        <a:solidFill>
                          <a:srgbClr val="FFC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345130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BM Technology Zone page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hlinkClick r:id="rId14"/>
                        </a:rPr>
                        <a:t>https://techzone.ibm.com</a:t>
                      </a:r>
                      <a:r>
                        <a:rPr lang="en-US" sz="1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hlinkClick r:id="rId14"/>
                        </a:rPr>
                        <a:t>/collection/platinum-demos-predictive-decisioning</a:t>
                      </a:r>
                      <a:endParaRPr lang="en-US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84290482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mo components</a:t>
                      </a:r>
                      <a:endParaRPr lang="en-US" sz="1100" b="1" i="0" kern="1200" dirty="0">
                        <a:solidFill>
                          <a:srgbClr val="FFC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122663667"/>
                  </a:ext>
                </a:extLst>
              </a:tr>
            </a:tbl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0293D5-E65B-FF41-B517-6F3F285C22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50C2ADF-0A9C-374C-90E9-2A5628F1D410}"/>
              </a:ext>
            </a:extLst>
          </p:cNvPr>
          <p:cNvSpPr txBox="1"/>
          <p:nvPr/>
        </p:nvSpPr>
        <p:spPr>
          <a:xfrm>
            <a:off x="4282069" y="112971"/>
            <a:ext cx="4771140" cy="369332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txBody>
          <a:bodyPr wrap="square" lIns="91440" tIns="91440" rIns="91440" bIns="91440" rtlCol="0">
            <a:spAutoFit/>
          </a:bodyPr>
          <a:lstStyle/>
          <a:p>
            <a:pPr algn="ctr">
              <a:spcBef>
                <a:spcPts val="1100"/>
              </a:spcBef>
            </a:pPr>
            <a:r>
              <a:rPr lang="en-US" sz="1200" b="1" dirty="0">
                <a:solidFill>
                  <a:srgbClr val="FF0000"/>
                </a:solidFill>
                <a:latin typeface="Arial" panose="020B0604020202020204" pitchFamily="34" charset="0"/>
                <a:ea typeface="IBM Plex Sans" charset="0"/>
                <a:cs typeface="Arial" panose="020B0604020202020204" pitchFamily="34" charset="0"/>
              </a:rPr>
              <a:t>REMOVE THIS SLIDE BEFORE PRESENTING TO CUSTOMERS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7CCDECB3-6AF3-20E8-468F-AC39BD878A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8"/>
            <a:ext cx="5729571" cy="308333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Demo overview</a:t>
            </a:r>
          </a:p>
        </p:txBody>
      </p:sp>
      <p:sp>
        <p:nvSpPr>
          <p:cNvPr id="34" name="Rectangle 4">
            <a:extLst>
              <a:ext uri="{FF2B5EF4-FFF2-40B4-BE49-F238E27FC236}">
                <a16:creationId xmlns:a16="http://schemas.microsoft.com/office/drawing/2014/main" id="{723CA934-E5BE-93C2-CBEB-BA2E3705CB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268416" y="3317076"/>
            <a:ext cx="3584886" cy="1362991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</p:spPr>
        <p:txBody>
          <a:bodyPr wrap="none" lIns="91440" anchor="t"/>
          <a:lstStyle>
            <a:lvl1pPr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defTabSz="685808">
              <a:tabLst>
                <a:tab pos="1489094" algn="l"/>
              </a:tabLst>
              <a:defRPr/>
            </a:pPr>
            <a:endParaRPr lang="en-GB" altLang="ja-JP" sz="1200" b="1" kern="0" dirty="0">
              <a:latin typeface="+mn-lt"/>
              <a:ea typeface="+mn-ea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8BE7D4A3-09EE-C44B-5178-42AA15139D36}"/>
              </a:ext>
            </a:extLst>
          </p:cNvPr>
          <p:cNvSpPr txBox="1"/>
          <p:nvPr/>
        </p:nvSpPr>
        <p:spPr>
          <a:xfrm>
            <a:off x="2268415" y="4464882"/>
            <a:ext cx="3584885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800" kern="0" dirty="0">
                <a:latin typeface="Arial" panose="020B0604020202020204" pitchFamily="34" charset="0"/>
                <a:cs typeface="Arial" panose="020B0604020202020204" pitchFamily="34" charset="0"/>
              </a:rPr>
              <a:t>Cloud Pak for Business Automation on ROKS</a:t>
            </a:r>
          </a:p>
        </p:txBody>
      </p:sp>
      <p:sp>
        <p:nvSpPr>
          <p:cNvPr id="39" name="Rectangle 4">
            <a:extLst>
              <a:ext uri="{FF2B5EF4-FFF2-40B4-BE49-F238E27FC236}">
                <a16:creationId xmlns:a16="http://schemas.microsoft.com/office/drawing/2014/main" id="{B9959591-2825-B99F-7937-AD409D2EC8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950950" y="3317076"/>
            <a:ext cx="1836999" cy="1362992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</p:spPr>
        <p:txBody>
          <a:bodyPr wrap="none" lIns="91440" anchor="t"/>
          <a:lstStyle>
            <a:lvl1pPr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defTabSz="685808">
              <a:tabLst>
                <a:tab pos="1489094" algn="l"/>
              </a:tabLst>
              <a:defRPr/>
            </a:pPr>
            <a:endParaRPr lang="en-GB" altLang="ja-JP" sz="1200" b="1" kern="0" dirty="0">
              <a:latin typeface="+mn-lt"/>
              <a:ea typeface="+mn-ea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CC0F1C40-AAFD-89F3-8239-52F048654D1A}"/>
              </a:ext>
            </a:extLst>
          </p:cNvPr>
          <p:cNvSpPr txBox="1"/>
          <p:nvPr/>
        </p:nvSpPr>
        <p:spPr>
          <a:xfrm>
            <a:off x="5954396" y="4464623"/>
            <a:ext cx="1828733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800" kern="0" dirty="0">
                <a:latin typeface="Arial" panose="020B0604020202020204" pitchFamily="34" charset="0"/>
                <a:cs typeface="Arial" panose="020B0604020202020204" pitchFamily="34" charset="0"/>
              </a:rPr>
              <a:t>Cloud Pak for Data as a Service</a:t>
            </a:r>
          </a:p>
        </p:txBody>
      </p:sp>
      <p:sp>
        <p:nvSpPr>
          <p:cNvPr id="42" name="Rectangle 3">
            <a:extLst>
              <a:ext uri="{FF2B5EF4-FFF2-40B4-BE49-F238E27FC236}">
                <a16:creationId xmlns:a16="http://schemas.microsoft.com/office/drawing/2014/main" id="{49091085-2FC4-6CA5-82DC-E4D25A1E49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109684" y="3426014"/>
            <a:ext cx="1645920" cy="102742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anchor="t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br>
              <a:rPr lang="en-US" sz="8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8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w-code development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EA486A8F-DF96-CCB0-FE81-73AEE543062A}"/>
              </a:ext>
            </a:extLst>
          </p:cNvPr>
          <p:cNvGrpSpPr/>
          <p:nvPr/>
        </p:nvGrpSpPr>
        <p:grpSpPr>
          <a:xfrm>
            <a:off x="4199773" y="3822805"/>
            <a:ext cx="1465743" cy="453460"/>
            <a:chOff x="997119" y="3883299"/>
            <a:chExt cx="2172907" cy="672238"/>
          </a:xfrm>
        </p:grpSpPr>
        <p:sp>
          <p:nvSpPr>
            <p:cNvPr id="62" name="Rectangle 3">
              <a:extLst>
                <a:ext uri="{FF2B5EF4-FFF2-40B4-BE49-F238E27FC236}">
                  <a16:creationId xmlns:a16="http://schemas.microsoft.com/office/drawing/2014/main" id="{A4EFE187-40D2-39DD-65BC-C3B35387C76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126243" y="3883299"/>
              <a:ext cx="1043783" cy="6722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pplication</a:t>
              </a:r>
              <a:b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signer</a:t>
              </a:r>
            </a:p>
          </p:txBody>
        </p:sp>
        <p:sp>
          <p:nvSpPr>
            <p:cNvPr id="63" name="Rectangle 3">
              <a:extLst>
                <a:ext uri="{FF2B5EF4-FFF2-40B4-BE49-F238E27FC236}">
                  <a16:creationId xmlns:a16="http://schemas.microsoft.com/office/drawing/2014/main" id="{F2C27973-619F-70AD-5DF1-6A2A123986C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997119" y="3883299"/>
              <a:ext cx="1043783" cy="6722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utomation</a:t>
              </a:r>
              <a:b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udio</a:t>
              </a:r>
            </a:p>
          </p:txBody>
        </p:sp>
      </p:grpSp>
      <p:sp>
        <p:nvSpPr>
          <p:cNvPr id="44" name="Rectangle 3">
            <a:extLst>
              <a:ext uri="{FF2B5EF4-FFF2-40B4-BE49-F238E27FC236}">
                <a16:creationId xmlns:a16="http://schemas.microsoft.com/office/drawing/2014/main" id="{5A6C09CC-1AAF-AB8E-5282-0E5B8C4DC1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366115" y="3426155"/>
            <a:ext cx="1645920" cy="10274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anchor="t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br>
              <a:rPr lang="en-US" sz="8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8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ision management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DCA7A84D-A8B5-2E1E-06EF-D32B2AE08359}"/>
              </a:ext>
            </a:extLst>
          </p:cNvPr>
          <p:cNvGrpSpPr/>
          <p:nvPr/>
        </p:nvGrpSpPr>
        <p:grpSpPr>
          <a:xfrm>
            <a:off x="2459294" y="3819066"/>
            <a:ext cx="1459562" cy="457199"/>
            <a:chOff x="1001700" y="3883298"/>
            <a:chExt cx="2163745" cy="677781"/>
          </a:xfrm>
        </p:grpSpPr>
        <p:sp>
          <p:nvSpPr>
            <p:cNvPr id="60" name="Rectangle 3">
              <a:extLst>
                <a:ext uri="{FF2B5EF4-FFF2-40B4-BE49-F238E27FC236}">
                  <a16:creationId xmlns:a16="http://schemas.microsoft.com/office/drawing/2014/main" id="{D2CBCA37-050C-FBDC-A7B5-AF979869C51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126244" y="3883298"/>
              <a:ext cx="1039201" cy="67778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cision</a:t>
              </a:r>
              <a:b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untime</a:t>
              </a:r>
            </a:p>
          </p:txBody>
        </p:sp>
        <p:sp>
          <p:nvSpPr>
            <p:cNvPr id="61" name="Rectangle 3">
              <a:extLst>
                <a:ext uri="{FF2B5EF4-FFF2-40B4-BE49-F238E27FC236}">
                  <a16:creationId xmlns:a16="http://schemas.microsoft.com/office/drawing/2014/main" id="{31B0BE22-B079-0FC3-43DE-F7A560997ED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1001700" y="3883299"/>
              <a:ext cx="1039203" cy="67778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cision</a:t>
              </a:r>
              <a:b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uthoring</a:t>
              </a:r>
            </a:p>
          </p:txBody>
        </p:sp>
      </p:grpSp>
      <p:sp>
        <p:nvSpPr>
          <p:cNvPr id="46" name="Rectangle 3">
            <a:extLst>
              <a:ext uri="{FF2B5EF4-FFF2-40B4-BE49-F238E27FC236}">
                <a16:creationId xmlns:a16="http://schemas.microsoft.com/office/drawing/2014/main" id="{11360D08-42FB-4C2F-114A-9FB5FB213D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046489" y="3426013"/>
            <a:ext cx="1645920" cy="1027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anchor="t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br>
              <a:rPr lang="en-US" sz="8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8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chine learning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3F78B06-E205-9CD6-9CD8-4CA520B40F3A}"/>
              </a:ext>
            </a:extLst>
          </p:cNvPr>
          <p:cNvGrpSpPr/>
          <p:nvPr/>
        </p:nvGrpSpPr>
        <p:grpSpPr>
          <a:xfrm>
            <a:off x="6136294" y="3817168"/>
            <a:ext cx="1466310" cy="459097"/>
            <a:chOff x="4198138" y="4519484"/>
            <a:chExt cx="1466310" cy="459097"/>
          </a:xfrm>
        </p:grpSpPr>
        <p:sp>
          <p:nvSpPr>
            <p:cNvPr id="64" name="Rectangle 3">
              <a:extLst>
                <a:ext uri="{FF2B5EF4-FFF2-40B4-BE49-F238E27FC236}">
                  <a16:creationId xmlns:a16="http://schemas.microsoft.com/office/drawing/2014/main" id="{533FEC32-CA36-2F2D-5472-0A60EAD5C02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4198138" y="4519484"/>
              <a:ext cx="704087" cy="457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edictive analytics authoring</a:t>
              </a:r>
            </a:p>
          </p:txBody>
        </p:sp>
        <p:sp>
          <p:nvSpPr>
            <p:cNvPr id="65" name="Rectangle 3">
              <a:extLst>
                <a:ext uri="{FF2B5EF4-FFF2-40B4-BE49-F238E27FC236}">
                  <a16:creationId xmlns:a16="http://schemas.microsoft.com/office/drawing/2014/main" id="{C9AF7256-B95F-9E4B-30EB-620D5C6D2C9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4960361" y="4521381"/>
              <a:ext cx="704087" cy="457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edictive analytics runtime</a:t>
              </a:r>
            </a:p>
          </p:txBody>
        </p:sp>
      </p:grpSp>
      <p:sp>
        <p:nvSpPr>
          <p:cNvPr id="59" name="TextBox 58">
            <a:extLst>
              <a:ext uri="{FF2B5EF4-FFF2-40B4-BE49-F238E27FC236}">
                <a16:creationId xmlns:a16="http://schemas.microsoft.com/office/drawing/2014/main" id="{04A1DE78-9A9E-80AA-ECB8-AA906D5539B6}"/>
              </a:ext>
            </a:extLst>
          </p:cNvPr>
          <p:cNvSpPr txBox="1"/>
          <p:nvPr/>
        </p:nvSpPr>
        <p:spPr>
          <a:xfrm>
            <a:off x="2268416" y="3100022"/>
            <a:ext cx="358488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800" b="1" kern="0" dirty="0">
                <a:latin typeface="Arial" panose="020B0604020202020204" pitchFamily="34" charset="0"/>
                <a:cs typeface="Arial" panose="020B0604020202020204" pitchFamily="34" charset="0"/>
              </a:rPr>
              <a:t>IBM TechZone-provided environment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AD274F4C-C24F-1E52-BEF8-EAB4624A08B1}"/>
              </a:ext>
            </a:extLst>
          </p:cNvPr>
          <p:cNvSpPr txBox="1"/>
          <p:nvPr/>
        </p:nvSpPr>
        <p:spPr>
          <a:xfrm>
            <a:off x="5950950" y="3102038"/>
            <a:ext cx="1836999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800" b="1" kern="0" dirty="0">
                <a:latin typeface="Arial" panose="020B0604020202020204" pitchFamily="34" charset="0"/>
                <a:cs typeface="Arial" panose="020B0604020202020204" pitchFamily="34" charset="0"/>
              </a:rPr>
              <a:t>SaaS</a:t>
            </a:r>
          </a:p>
        </p:txBody>
      </p:sp>
    </p:spTree>
    <p:extLst>
      <p:ext uri="{BB962C8B-B14F-4D97-AF65-F5344CB8AC3E}">
        <p14:creationId xmlns:p14="http://schemas.microsoft.com/office/powerpoint/2010/main" val="8422216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A picture containing blur&#10;&#10;Description automatically generated">
            <a:extLst>
              <a:ext uri="{FF2B5EF4-FFF2-40B4-BE49-F238E27FC236}">
                <a16:creationId xmlns:a16="http://schemas.microsoft.com/office/drawing/2014/main" id="{C50BE4E8-EC50-1E23-5440-9170D8B0388C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22" name="Picture 21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6DC259FB-C481-4173-C419-A8E3A85E671B}"/>
              </a:ext>
            </a:extLst>
          </p:cNvPr>
          <p:cNvPicPr>
            <a:picLocks noChangeAspect="1"/>
          </p:cNvPicPr>
          <p:nvPr/>
        </p:nvPicPr>
        <p:blipFill>
          <a:blip r:embed="rId9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4A17FE-E30C-884E-8600-EBD9A3446D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cxnSp>
        <p:nvCxnSpPr>
          <p:cNvPr id="23" name="Straight Connector 1">
            <a:extLst>
              <a:ext uri="{FF2B5EF4-FFF2-40B4-BE49-F238E27FC236}">
                <a16:creationId xmlns:a16="http://schemas.microsoft.com/office/drawing/2014/main" id="{A68CDC5D-A261-DE43-81EE-201B7FFD15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230407" y="3990548"/>
            <a:ext cx="8684926" cy="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</a:ln>
          <a:effectLst/>
        </p:spPr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663D44C0-2EC9-C848-9F91-E6E4BBF7F02C}"/>
              </a:ext>
            </a:extLst>
          </p:cNvPr>
          <p:cNvSpPr/>
          <p:nvPr/>
        </p:nvSpPr>
        <p:spPr>
          <a:xfrm>
            <a:off x="210311" y="4019236"/>
            <a:ext cx="1612312" cy="401648"/>
          </a:xfrm>
          <a:prstGeom prst="rect">
            <a:avLst/>
          </a:prstGeom>
          <a:noFill/>
          <a:ln w="19050">
            <a:noFill/>
            <a:headEnd type="none" w="med" len="med"/>
            <a:tailEnd type="none" w="med" len="med"/>
          </a:ln>
          <a:effectLst>
            <a:softEdge rad="0"/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27000" tIns="27000" rIns="27000" bIns="27000" numCol="1" rtlCol="0" anchor="t" anchorCtr="0" compatLnSpc="1">
            <a:prstTxWarp prst="textNoShape">
              <a:avLst/>
            </a:prstTxWarp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oud Pak capabilities in the demo</a:t>
            </a:r>
          </a:p>
        </p:txBody>
      </p:sp>
      <p:cxnSp>
        <p:nvCxnSpPr>
          <p:cNvPr id="27" name="Straight Connector 1">
            <a:extLst>
              <a:ext uri="{FF2B5EF4-FFF2-40B4-BE49-F238E27FC236}">
                <a16:creationId xmlns:a16="http://schemas.microsoft.com/office/drawing/2014/main" id="{F64196B1-B759-B245-9DB0-3AE276C836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230407" y="912987"/>
            <a:ext cx="8684926" cy="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</a:ln>
          <a:effectLst/>
        </p:spPr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8B3D0802-84E9-6B43-9827-DE75289CF9DB}"/>
              </a:ext>
            </a:extLst>
          </p:cNvPr>
          <p:cNvSpPr/>
          <p:nvPr/>
        </p:nvSpPr>
        <p:spPr>
          <a:xfrm>
            <a:off x="210311" y="947390"/>
            <a:ext cx="1612312" cy="401648"/>
          </a:xfrm>
          <a:prstGeom prst="rect">
            <a:avLst/>
          </a:prstGeom>
          <a:noFill/>
          <a:ln w="19050">
            <a:noFill/>
            <a:headEnd type="none" w="med" len="med"/>
            <a:tailEnd type="none" w="med" len="med"/>
          </a:ln>
          <a:effectLst>
            <a:softEdge rad="0"/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27000" tIns="27000" rIns="27000" bIns="27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enario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2C66D1C2-9AA2-8171-F84D-3BBAA60C9366}"/>
              </a:ext>
            </a:extLst>
          </p:cNvPr>
          <p:cNvGrpSpPr/>
          <p:nvPr/>
        </p:nvGrpSpPr>
        <p:grpSpPr>
          <a:xfrm>
            <a:off x="2602619" y="4198231"/>
            <a:ext cx="5739304" cy="483254"/>
            <a:chOff x="2602619" y="4175080"/>
            <a:chExt cx="5739304" cy="483254"/>
          </a:xfrm>
        </p:grpSpPr>
        <p:sp>
          <p:nvSpPr>
            <p:cNvPr id="29" name="Rectangle 4">
              <a:extLst>
                <a:ext uri="{FF2B5EF4-FFF2-40B4-BE49-F238E27FC236}">
                  <a16:creationId xmlns:a16="http://schemas.microsoft.com/office/drawing/2014/main" id="{0DC36E1D-49AF-1941-9B71-E808D818AA7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602619" y="4175080"/>
              <a:ext cx="5739304" cy="483254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91440" anchor="t"/>
            <a:lstStyle>
              <a:lvl1pPr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tabLst>
                  <a:tab pos="1489094" algn="l"/>
                </a:tabLst>
                <a:defRPr/>
              </a:pPr>
              <a:endParaRPr lang="en-GB" altLang="ja-JP" sz="1200" b="1" kern="0" dirty="0">
                <a:latin typeface="+mn-lt"/>
                <a:ea typeface="+mn-ea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B06FBC97-493F-8842-94F7-6D1E762DB9D9}"/>
                </a:ext>
              </a:extLst>
            </p:cNvPr>
            <p:cNvSpPr/>
            <p:nvPr/>
          </p:nvSpPr>
          <p:spPr>
            <a:xfrm>
              <a:off x="2602619" y="4175080"/>
              <a:ext cx="2869652" cy="477274"/>
            </a:xfrm>
            <a:prstGeom prst="rect">
              <a:avLst/>
            </a:prstGeom>
            <a:noFill/>
            <a:ln w="19050">
              <a:noFill/>
              <a:headEnd type="none" w="med" len="med"/>
              <a:tailEnd type="none" w="med" len="med"/>
            </a:ln>
            <a:effectLst>
              <a:softEdge rad="0"/>
            </a:effectLst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27000" tIns="27000" rIns="27000" bIns="2700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defTabSz="914400"/>
              <a:r>
                <a:rPr lang="en-US" sz="1200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cision management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F4A78641-594F-A446-9340-2EBD75761528}"/>
                </a:ext>
              </a:extLst>
            </p:cNvPr>
            <p:cNvSpPr/>
            <p:nvPr/>
          </p:nvSpPr>
          <p:spPr>
            <a:xfrm>
              <a:off x="5472065" y="4175080"/>
              <a:ext cx="2869652" cy="477274"/>
            </a:xfrm>
            <a:prstGeom prst="rect">
              <a:avLst/>
            </a:prstGeom>
            <a:noFill/>
            <a:ln w="19050">
              <a:noFill/>
              <a:headEnd type="none" w="med" len="med"/>
              <a:tailEnd type="none" w="med" len="med"/>
            </a:ln>
            <a:effectLst>
              <a:softEdge rad="0"/>
            </a:effectLst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27000" tIns="27000" rIns="27000" bIns="2700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defTabSz="914400"/>
              <a:r>
                <a:rPr lang="en-US" sz="1200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tegration with predictive analytics</a:t>
              </a:r>
            </a:p>
          </p:txBody>
        </p: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2481360C-EF9C-FF41-88DA-A42AC08658DE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472271" y="4272845"/>
              <a:ext cx="0" cy="300524"/>
            </a:xfrm>
            <a:prstGeom prst="line">
              <a:avLst/>
            </a:prstGeom>
            <a:ln w="3175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19" name="Title">
            <a:extLst>
              <a:ext uri="{FF2B5EF4-FFF2-40B4-BE49-F238E27FC236}">
                <a16:creationId xmlns:a16="http://schemas.microsoft.com/office/drawing/2014/main" id="{40880D0A-7B65-66D1-9211-288CFF0840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9"/>
            <a:ext cx="8705022" cy="302708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 overview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53E0B23D-4EB8-754D-888D-2CDE018E254C}"/>
              </a:ext>
            </a:extLst>
          </p:cNvPr>
          <p:cNvGrpSpPr/>
          <p:nvPr/>
        </p:nvGrpSpPr>
        <p:grpSpPr>
          <a:xfrm>
            <a:off x="1128233" y="1135790"/>
            <a:ext cx="6887534" cy="2631954"/>
            <a:chOff x="3654559" y="1094697"/>
            <a:chExt cx="4800384" cy="2631954"/>
          </a:xfrm>
        </p:grpSpPr>
        <p:sp>
          <p:nvSpPr>
            <p:cNvPr id="30" name="Rectangle 3">
              <a:extLst>
                <a:ext uri="{FF2B5EF4-FFF2-40B4-BE49-F238E27FC236}">
                  <a16:creationId xmlns:a16="http://schemas.microsoft.com/office/drawing/2014/main" id="{FD57064C-F096-194A-92C7-9BE529ABD5A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3654559" y="1094697"/>
              <a:ext cx="3474990" cy="65836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en-US" sz="12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SkyTalk’s</a:t>
              </a:r>
              <a:r>
                <a:rPr lang="en-US" sz="1200" kern="0" dirty="0">
                  <a:latin typeface="Arial" panose="020B0604020202020204" pitchFamily="34" charset="0"/>
                  <a:cs typeface="Arial" panose="020B0604020202020204" pitchFamily="34" charset="0"/>
                </a:rPr>
                <a:t> call center agents use a PDF document to make customer retention offers. Because offers are not targeted, the company loses many of its most profitable customers - while retention costs skyrocket.</a:t>
              </a:r>
            </a:p>
          </p:txBody>
        </p:sp>
        <p:sp>
          <p:nvSpPr>
            <p:cNvPr id="31" name="Rectangle 3">
              <a:extLst>
                <a:ext uri="{FF2B5EF4-FFF2-40B4-BE49-F238E27FC236}">
                  <a16:creationId xmlns:a16="http://schemas.microsoft.com/office/drawing/2014/main" id="{B373B425-93CC-DB4A-BA55-8AD1CD5366E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984771" y="3068283"/>
              <a:ext cx="3470172" cy="65836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e company uses the built-in integration between decision management and machine learning to generate targeted retention offers while the customer is on the phone with the call center agent.</a:t>
              </a:r>
            </a:p>
          </p:txBody>
        </p:sp>
        <p:sp>
          <p:nvSpPr>
            <p:cNvPr id="32" name="Rectangle 3">
              <a:extLst>
                <a:ext uri="{FF2B5EF4-FFF2-40B4-BE49-F238E27FC236}">
                  <a16:creationId xmlns:a16="http://schemas.microsoft.com/office/drawing/2014/main" id="{75A41F6D-59DB-D44F-9E9C-CD774484E90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541457" y="2410421"/>
              <a:ext cx="3474720" cy="658368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e company creates machine learning models to do real-time calculations of customer lifetime value and propensity to churn. They build these models without needing data science skills.</a:t>
              </a:r>
            </a:p>
          </p:txBody>
        </p:sp>
        <p:sp>
          <p:nvSpPr>
            <p:cNvPr id="33" name="Rectangle 3">
              <a:extLst>
                <a:ext uri="{FF2B5EF4-FFF2-40B4-BE49-F238E27FC236}">
                  <a16:creationId xmlns:a16="http://schemas.microsoft.com/office/drawing/2014/main" id="{F25A3131-0607-2443-99C8-8E71F615848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4098143" y="1752559"/>
              <a:ext cx="3474720" cy="65836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wrap="square" anchor="ctr">
              <a:no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en-US" sz="1200" kern="0" dirty="0">
                  <a:latin typeface="Arial" panose="020B0604020202020204" pitchFamily="34" charset="0"/>
                  <a:cs typeface="Arial" panose="020B0604020202020204" pitchFamily="34" charset="0"/>
                </a:rPr>
                <a:t>The company builds a business rules application to make real-time retention offers. However, the app can’t predict key retention factors like ‘customer lifetime value’ and ‘propensity to churn.’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486233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 descr="A picture containing blur&#10;&#10;Description automatically generated">
            <a:extLst>
              <a:ext uri="{FF2B5EF4-FFF2-40B4-BE49-F238E27FC236}">
                <a16:creationId xmlns:a16="http://schemas.microsoft.com/office/drawing/2014/main" id="{5474F338-36F3-E694-011F-9B7F83455077}"/>
              </a:ext>
            </a:extLst>
          </p:cNvPr>
          <p:cNvPicPr>
            <a:picLocks noChangeAspect="1"/>
          </p:cNvPicPr>
          <p:nvPr/>
        </p:nvPicPr>
        <p:blipFill>
          <a:blip r:embed="rId12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28" name="Picture 27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8294B183-9459-6042-AAA1-D1F18D3D65B0}"/>
              </a:ext>
            </a:extLst>
          </p:cNvPr>
          <p:cNvPicPr>
            <a:picLocks noChangeAspect="1"/>
          </p:cNvPicPr>
          <p:nvPr/>
        </p:nvPicPr>
        <p:blipFill>
          <a:blip r:embed="rId13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4A17FE-E30C-884E-8600-EBD9A3446D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8B93F4D-3644-8E45-8CAC-5EE08EA2E2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9"/>
            <a:ext cx="8705022" cy="302708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 flow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63F996B-5E95-4D46-B53C-FCF10FC1A669}"/>
              </a:ext>
            </a:extLst>
          </p:cNvPr>
          <p:cNvGrpSpPr/>
          <p:nvPr/>
        </p:nvGrpSpPr>
        <p:grpSpPr>
          <a:xfrm>
            <a:off x="1401888" y="857755"/>
            <a:ext cx="1645209" cy="1726289"/>
            <a:chOff x="228665" y="3097146"/>
            <a:chExt cx="2103120" cy="1726289"/>
          </a:xfrm>
        </p:grpSpPr>
        <p:sp>
          <p:nvSpPr>
            <p:cNvPr id="8" name="Rectangle 3">
              <a:extLst>
                <a:ext uri="{FF2B5EF4-FFF2-40B4-BE49-F238E27FC236}">
                  <a16:creationId xmlns:a16="http://schemas.microsoft.com/office/drawing/2014/main" id="{1F13DFAD-69BD-FC4B-805F-A21C2507EF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28665" y="3097146"/>
              <a:ext cx="2103120" cy="519548"/>
            </a:xfrm>
            <a:prstGeom prst="rect">
              <a:avLst/>
            </a:prstGeom>
            <a:solidFill>
              <a:srgbClr val="0F62FE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defRPr/>
              </a:pPr>
              <a:r>
                <a:rPr lang="en-US" altLang="ja-JP" sz="1200" kern="0" dirty="0">
                  <a:solidFill>
                    <a:srgbClr val="FFFFFF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s-is process</a:t>
              </a:r>
            </a:p>
          </p:txBody>
        </p:sp>
        <p:sp>
          <p:nvSpPr>
            <p:cNvPr id="9" name="Rectangle 4">
              <a:extLst>
                <a:ext uri="{FF2B5EF4-FFF2-40B4-BE49-F238E27FC236}">
                  <a16:creationId xmlns:a16="http://schemas.microsoft.com/office/drawing/2014/main" id="{CE41BB34-7C40-7E4B-9E2D-D3F38AF950D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28665" y="3616427"/>
              <a:ext cx="2103120" cy="1207008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91440" anchor="t"/>
            <a:lstStyle>
              <a:lvl1pPr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tabLst>
                  <a:tab pos="1489094" algn="l"/>
                </a:tabLst>
                <a:defRPr/>
              </a:pPr>
              <a:endParaRPr lang="en-GB" altLang="ja-JP" sz="1200" b="1" kern="0" dirty="0"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ustomer retention</a:t>
              </a:r>
            </a:p>
            <a:p>
              <a:pPr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ffers are manually selected by call center agents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9228875B-5713-2C4F-AEA2-F532D8B88F4F}"/>
              </a:ext>
            </a:extLst>
          </p:cNvPr>
          <p:cNvGrpSpPr/>
          <p:nvPr/>
        </p:nvGrpSpPr>
        <p:grpSpPr>
          <a:xfrm>
            <a:off x="3749040" y="857622"/>
            <a:ext cx="1645210" cy="1726555"/>
            <a:chOff x="2016284" y="1764942"/>
            <a:chExt cx="2103120" cy="1726555"/>
          </a:xfrm>
        </p:grpSpPr>
        <p:sp>
          <p:nvSpPr>
            <p:cNvPr id="23" name="Rectangle 3">
              <a:extLst>
                <a:ext uri="{FF2B5EF4-FFF2-40B4-BE49-F238E27FC236}">
                  <a16:creationId xmlns:a16="http://schemas.microsoft.com/office/drawing/2014/main" id="{9B280A5F-18FE-3E43-8B97-CDE8D51B0FD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016284" y="1764942"/>
              <a:ext cx="2103120" cy="519547"/>
            </a:xfrm>
            <a:prstGeom prst="rect">
              <a:avLst/>
            </a:prstGeom>
            <a:solidFill>
              <a:srgbClr val="0F62FE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defRPr/>
              </a:pPr>
              <a:r>
                <a:rPr lang="en-US" altLang="ja-JP" sz="1200" kern="0" dirty="0">
                  <a:solidFill>
                    <a:srgbClr val="FFFFFF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utomated decisions</a:t>
              </a:r>
            </a:p>
          </p:txBody>
        </p:sp>
        <p:sp>
          <p:nvSpPr>
            <p:cNvPr id="24" name="Rectangle 4">
              <a:extLst>
                <a:ext uri="{FF2B5EF4-FFF2-40B4-BE49-F238E27FC236}">
                  <a16:creationId xmlns:a16="http://schemas.microsoft.com/office/drawing/2014/main" id="{DCF49236-97C3-D64F-A92A-7A9663ADA4B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016284" y="2284489"/>
              <a:ext cx="2103120" cy="1207008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91440" anchor="t"/>
            <a:lstStyle>
              <a:lvl1pPr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tabLst>
                  <a:tab pos="1489094" algn="l"/>
                </a:tabLst>
                <a:defRPr/>
              </a:pPr>
              <a:endParaRPr lang="en-GB" altLang="ja-JP" sz="1200" b="1" kern="0" dirty="0"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reate business rules to automate selection of retention offers</a:t>
              </a: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4436F63D-74C7-E54E-86F0-F262D838D463}"/>
              </a:ext>
            </a:extLst>
          </p:cNvPr>
          <p:cNvGrpSpPr/>
          <p:nvPr/>
        </p:nvGrpSpPr>
        <p:grpSpPr>
          <a:xfrm>
            <a:off x="6096192" y="853409"/>
            <a:ext cx="1645920" cy="1734980"/>
            <a:chOff x="3497729" y="1764942"/>
            <a:chExt cx="1963759" cy="1734980"/>
          </a:xfrm>
        </p:grpSpPr>
        <p:sp>
          <p:nvSpPr>
            <p:cNvPr id="25" name="Rectangle 3">
              <a:extLst>
                <a:ext uri="{FF2B5EF4-FFF2-40B4-BE49-F238E27FC236}">
                  <a16:creationId xmlns:a16="http://schemas.microsoft.com/office/drawing/2014/main" id="{D22060B1-2A09-714B-A299-B99F4946E8A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497729" y="1764942"/>
              <a:ext cx="1962912" cy="520737"/>
            </a:xfrm>
            <a:prstGeom prst="rect">
              <a:avLst/>
            </a:prstGeom>
            <a:solidFill>
              <a:srgbClr val="0F62FE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defRPr/>
              </a:pPr>
              <a:r>
                <a:rPr lang="en-US" altLang="ja-JP" sz="1200" kern="0" dirty="0">
                  <a:solidFill>
                    <a:srgbClr val="FFFFFF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edictive models</a:t>
              </a:r>
            </a:p>
          </p:txBody>
        </p:sp>
        <p:sp>
          <p:nvSpPr>
            <p:cNvPr id="26" name="Rectangle 4">
              <a:extLst>
                <a:ext uri="{FF2B5EF4-FFF2-40B4-BE49-F238E27FC236}">
                  <a16:creationId xmlns:a16="http://schemas.microsoft.com/office/drawing/2014/main" id="{C0DF3D78-1210-3F42-BFE5-5FEFF72DF72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3497729" y="2292914"/>
              <a:ext cx="1963759" cy="1207008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91440" anchor="t"/>
            <a:lstStyle>
              <a:lvl1pPr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tabLst>
                  <a:tab pos="1489094" algn="l"/>
                </a:tabLst>
                <a:defRPr/>
              </a:pPr>
              <a:endParaRPr lang="en-GB" altLang="ja-JP" sz="1200" kern="0" dirty="0"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Use machine learning to predict customer churn and lifetime value</a:t>
              </a:r>
            </a:p>
          </p:txBody>
        </p:sp>
      </p:grpSp>
      <p:sp>
        <p:nvSpPr>
          <p:cNvPr id="6" name="Right Arrow 5">
            <a:extLst>
              <a:ext uri="{FF2B5EF4-FFF2-40B4-BE49-F238E27FC236}">
                <a16:creationId xmlns:a16="http://schemas.microsoft.com/office/drawing/2014/main" id="{308772FF-5C22-0949-9B77-ECD7469501CB}"/>
              </a:ext>
            </a:extLst>
          </p:cNvPr>
          <p:cNvSpPr/>
          <p:nvPr/>
        </p:nvSpPr>
        <p:spPr bwMode="auto">
          <a:xfrm>
            <a:off x="3153370" y="1534156"/>
            <a:ext cx="489397" cy="373487"/>
          </a:xfrm>
          <a:prstGeom prst="rightArrow">
            <a:avLst/>
          </a:prstGeom>
          <a:solidFill>
            <a:schemeClr val="bg2">
              <a:lumMod val="90000"/>
            </a:schemeClr>
          </a:solidFill>
          <a:ln w="19050">
            <a:solidFill>
              <a:schemeClr val="bg2">
                <a:lumMod val="90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accent2"/>
              </a:solidFill>
              <a:effectLst/>
              <a:latin typeface="+mn-lt"/>
            </a:endParaRPr>
          </a:p>
        </p:txBody>
      </p:sp>
      <p:sp>
        <p:nvSpPr>
          <p:cNvPr id="22" name="Right Arrow 21">
            <a:extLst>
              <a:ext uri="{FF2B5EF4-FFF2-40B4-BE49-F238E27FC236}">
                <a16:creationId xmlns:a16="http://schemas.microsoft.com/office/drawing/2014/main" id="{C4216C5F-D81F-EF41-8F06-95473350260F}"/>
              </a:ext>
            </a:extLst>
          </p:cNvPr>
          <p:cNvSpPr/>
          <p:nvPr/>
        </p:nvSpPr>
        <p:spPr bwMode="auto">
          <a:xfrm>
            <a:off x="5500522" y="1534156"/>
            <a:ext cx="489397" cy="373487"/>
          </a:xfrm>
          <a:prstGeom prst="rightArrow">
            <a:avLst/>
          </a:prstGeom>
          <a:solidFill>
            <a:schemeClr val="bg2">
              <a:lumMod val="90000"/>
            </a:schemeClr>
          </a:solidFill>
          <a:ln w="19050">
            <a:solidFill>
              <a:schemeClr val="bg2">
                <a:lumMod val="90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accent2"/>
              </a:solidFill>
              <a:effectLst/>
              <a:latin typeface="+mn-lt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45A69AD-5833-7BEE-3575-D24A9B1CF243}"/>
              </a:ext>
            </a:extLst>
          </p:cNvPr>
          <p:cNvGrpSpPr/>
          <p:nvPr/>
        </p:nvGrpSpPr>
        <p:grpSpPr>
          <a:xfrm>
            <a:off x="2575464" y="2766994"/>
            <a:ext cx="1645210" cy="1724516"/>
            <a:chOff x="2575819" y="2651889"/>
            <a:chExt cx="1645210" cy="1724516"/>
          </a:xfrm>
        </p:grpSpPr>
        <p:sp>
          <p:nvSpPr>
            <p:cNvPr id="30" name="Rectangle 3">
              <a:extLst>
                <a:ext uri="{FF2B5EF4-FFF2-40B4-BE49-F238E27FC236}">
                  <a16:creationId xmlns:a16="http://schemas.microsoft.com/office/drawing/2014/main" id="{BFEE4C56-419A-E84C-BBAB-057789204EC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575819" y="2651889"/>
              <a:ext cx="1645209" cy="519548"/>
            </a:xfrm>
            <a:prstGeom prst="rect">
              <a:avLst/>
            </a:prstGeom>
            <a:solidFill>
              <a:srgbClr val="0F62FE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defRPr/>
              </a:pPr>
              <a:r>
                <a:rPr lang="en-US" altLang="ja-JP" sz="1200" kern="0" dirty="0">
                  <a:solidFill>
                    <a:srgbClr val="FFFFFF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all center</a:t>
              </a:r>
            </a:p>
            <a:p>
              <a:pPr algn="ctr" defTabSz="685808">
                <a:defRPr/>
              </a:pPr>
              <a:r>
                <a:rPr lang="en-US" altLang="ja-JP" sz="1200" kern="0" dirty="0">
                  <a:solidFill>
                    <a:srgbClr val="FFFFFF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pplication</a:t>
              </a:r>
            </a:p>
          </p:txBody>
        </p:sp>
        <p:sp>
          <p:nvSpPr>
            <p:cNvPr id="32" name="Rectangle 4">
              <a:extLst>
                <a:ext uri="{FF2B5EF4-FFF2-40B4-BE49-F238E27FC236}">
                  <a16:creationId xmlns:a16="http://schemas.microsoft.com/office/drawing/2014/main" id="{152E9637-FC02-FF43-8151-2DF4865946A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575820" y="3178673"/>
              <a:ext cx="1645209" cy="1197732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91440" anchor="t"/>
            <a:lstStyle>
              <a:lvl1pPr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tabLst>
                  <a:tab pos="1489094" algn="l"/>
                </a:tabLst>
                <a:defRPr/>
              </a:pPr>
              <a:endParaRPr lang="en-GB" altLang="ja-JP" sz="1200" b="1" kern="0" dirty="0"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lvl="0"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solidFill>
                    <a:srgbClr val="00000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Retention offers are generated in real time during call center conversations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3FD47458-7CA3-087F-B95C-08CFBC158D57}"/>
              </a:ext>
            </a:extLst>
          </p:cNvPr>
          <p:cNvGrpSpPr/>
          <p:nvPr/>
        </p:nvGrpSpPr>
        <p:grpSpPr>
          <a:xfrm>
            <a:off x="4922616" y="2766698"/>
            <a:ext cx="1645210" cy="1725109"/>
            <a:chOff x="4922971" y="2647466"/>
            <a:chExt cx="1645210" cy="1725109"/>
          </a:xfrm>
        </p:grpSpPr>
        <p:sp>
          <p:nvSpPr>
            <p:cNvPr id="35" name="Rectangle 3">
              <a:extLst>
                <a:ext uri="{FF2B5EF4-FFF2-40B4-BE49-F238E27FC236}">
                  <a16:creationId xmlns:a16="http://schemas.microsoft.com/office/drawing/2014/main" id="{9B5082C3-5FFE-8849-8E57-27732AACE78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4922971" y="2647466"/>
              <a:ext cx="1645210" cy="519547"/>
            </a:xfrm>
            <a:prstGeom prst="rect">
              <a:avLst/>
            </a:prstGeom>
            <a:solidFill>
              <a:srgbClr val="0F62FE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defRPr/>
              </a:pPr>
              <a:r>
                <a:rPr lang="en-US" altLang="ja-JP" sz="1200" kern="0" dirty="0">
                  <a:solidFill>
                    <a:srgbClr val="FFFFFF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Integrated decisions</a:t>
              </a:r>
            </a:p>
            <a:p>
              <a:pPr algn="ctr" defTabSz="685808">
                <a:defRPr/>
              </a:pPr>
              <a:r>
                <a:rPr lang="en-US" altLang="ja-JP" sz="1200" kern="0" dirty="0">
                  <a:solidFill>
                    <a:srgbClr val="FFFFFF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nd predictions</a:t>
              </a:r>
            </a:p>
          </p:txBody>
        </p:sp>
        <p:sp>
          <p:nvSpPr>
            <p:cNvPr id="36" name="Rectangle 4">
              <a:extLst>
                <a:ext uri="{FF2B5EF4-FFF2-40B4-BE49-F238E27FC236}">
                  <a16:creationId xmlns:a16="http://schemas.microsoft.com/office/drawing/2014/main" id="{975AEB0C-5251-D44E-9BAE-3A1C9961032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922971" y="3167012"/>
              <a:ext cx="1645210" cy="1205563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91440" anchor="t"/>
            <a:lstStyle>
              <a:lvl1pPr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tabLst>
                  <a:tab pos="1489094" algn="l"/>
                </a:tabLst>
                <a:defRPr/>
              </a:pPr>
              <a:endParaRPr lang="en-GB" altLang="ja-JP" sz="1200" b="1" kern="0" dirty="0"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lvl="0"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bine business</a:t>
              </a:r>
            </a:p>
            <a:p>
              <a:pPr lvl="0"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ules and predictions</a:t>
              </a:r>
            </a:p>
            <a:p>
              <a:pPr lvl="0"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o determine best</a:t>
              </a:r>
            </a:p>
            <a:p>
              <a:pPr lvl="0"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tention offer</a:t>
              </a:r>
            </a:p>
          </p:txBody>
        </p:sp>
      </p:grpSp>
      <p:sp>
        <p:nvSpPr>
          <p:cNvPr id="37" name="Right Arrow 36">
            <a:extLst>
              <a:ext uri="{FF2B5EF4-FFF2-40B4-BE49-F238E27FC236}">
                <a16:creationId xmlns:a16="http://schemas.microsoft.com/office/drawing/2014/main" id="{B7F6E0F8-2A58-1547-AD9F-558CEFEA4F00}"/>
              </a:ext>
            </a:extLst>
          </p:cNvPr>
          <p:cNvSpPr/>
          <p:nvPr/>
        </p:nvSpPr>
        <p:spPr bwMode="auto">
          <a:xfrm flipH="1">
            <a:off x="4326946" y="3442509"/>
            <a:ext cx="489397" cy="373487"/>
          </a:xfrm>
          <a:prstGeom prst="rightArrow">
            <a:avLst/>
          </a:prstGeom>
          <a:solidFill>
            <a:schemeClr val="bg2">
              <a:lumMod val="90000"/>
            </a:schemeClr>
          </a:solidFill>
          <a:ln w="19050">
            <a:solidFill>
              <a:schemeClr val="bg2">
                <a:lumMod val="90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accent2"/>
              </a:solidFill>
              <a:effectLst/>
              <a:latin typeface="+mn-lt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3175DF8-4AC4-2741-A6B4-AFD26636387B}"/>
              </a:ext>
            </a:extLst>
          </p:cNvPr>
          <p:cNvGrpSpPr/>
          <p:nvPr/>
        </p:nvGrpSpPr>
        <p:grpSpPr>
          <a:xfrm>
            <a:off x="6674099" y="3182844"/>
            <a:ext cx="643701" cy="633152"/>
            <a:chOff x="6674454" y="2968782"/>
            <a:chExt cx="643701" cy="633152"/>
          </a:xfrm>
          <a:solidFill>
            <a:schemeClr val="bg2">
              <a:lumMod val="90000"/>
            </a:schemeClr>
          </a:solidFill>
        </p:grpSpPr>
        <p:sp>
          <p:nvSpPr>
            <p:cNvPr id="39" name="Right Arrow 38">
              <a:extLst>
                <a:ext uri="{FF2B5EF4-FFF2-40B4-BE49-F238E27FC236}">
                  <a16:creationId xmlns:a16="http://schemas.microsoft.com/office/drawing/2014/main" id="{88DD8C47-FBC7-F84C-B7CF-1BE9FDC1A8D3}"/>
                </a:ext>
              </a:extLst>
            </p:cNvPr>
            <p:cNvSpPr/>
            <p:nvPr/>
          </p:nvSpPr>
          <p:spPr bwMode="auto">
            <a:xfrm flipH="1">
              <a:off x="6674454" y="3228447"/>
              <a:ext cx="489397" cy="373487"/>
            </a:xfrm>
            <a:prstGeom prst="rightArrow">
              <a:avLst/>
            </a:prstGeom>
            <a:grpFill/>
            <a:ln w="19050">
              <a:solidFill>
                <a:schemeClr val="bg2">
                  <a:lumMod val="9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ystem Font Regular"/>
                <a:buNone/>
                <a:tabLst/>
              </a:pPr>
              <a:endParaRPr kumimoji="0" lang="en-US" sz="1400" b="0" i="0" u="none" strike="noStrike" cap="none" normalizeH="0" baseline="0" dirty="0">
                <a:ln>
                  <a:noFill/>
                </a:ln>
                <a:solidFill>
                  <a:schemeClr val="accent2"/>
                </a:solidFill>
                <a:effectLst/>
                <a:latin typeface="+mn-lt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EEAC205-CCD9-2A40-8E6B-F4909499AF1B}"/>
                </a:ext>
              </a:extLst>
            </p:cNvPr>
            <p:cNvSpPr/>
            <p:nvPr/>
          </p:nvSpPr>
          <p:spPr bwMode="auto">
            <a:xfrm>
              <a:off x="7135275" y="2968782"/>
              <a:ext cx="182880" cy="548640"/>
            </a:xfrm>
            <a:prstGeom prst="rect">
              <a:avLst/>
            </a:prstGeom>
            <a:grpFill/>
            <a:ln w="19050">
              <a:noFill/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ystem Font Regular"/>
                <a:buNone/>
                <a:tabLst/>
              </a:pPr>
              <a:endParaRPr kumimoji="0" lang="en-US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330583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A picture containing blur&#10;&#10;Description automatically generated">
            <a:extLst>
              <a:ext uri="{FF2B5EF4-FFF2-40B4-BE49-F238E27FC236}">
                <a16:creationId xmlns:a16="http://schemas.microsoft.com/office/drawing/2014/main" id="{60CCC426-3B09-21AD-E665-68B27C22591D}"/>
              </a:ext>
            </a:extLst>
          </p:cNvPr>
          <p:cNvPicPr>
            <a:picLocks noChangeAspect="1"/>
          </p:cNvPicPr>
          <p:nvPr/>
        </p:nvPicPr>
        <p:blipFill>
          <a:blip r:embed="rId13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22" name="Picture 21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4D3E1DD5-6461-8C61-C15C-C3E15C2754C0}"/>
              </a:ext>
            </a:extLst>
          </p:cNvPr>
          <p:cNvPicPr>
            <a:picLocks noChangeAspect="1"/>
          </p:cNvPicPr>
          <p:nvPr/>
        </p:nvPicPr>
        <p:blipFill>
          <a:blip r:embed="rId14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4A17FE-E30C-884E-8600-EBD9A3446D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8B93F4D-3644-8E45-8CAC-5EE08EA2E2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8"/>
            <a:ext cx="6210586" cy="369057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 components</a:t>
            </a:r>
            <a:b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Rectangle 4">
            <a:extLst>
              <a:ext uri="{FF2B5EF4-FFF2-40B4-BE49-F238E27FC236}">
                <a16:creationId xmlns:a16="http://schemas.microsoft.com/office/drawing/2014/main" id="{92CF5589-07F0-6B6F-CE09-655063A484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88563" y="1569659"/>
            <a:ext cx="5169544" cy="236240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91440" anchor="t"/>
          <a:lstStyle>
            <a:lvl1pPr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defTabSz="685808">
              <a:tabLst>
                <a:tab pos="1489094" algn="l"/>
              </a:tabLst>
              <a:defRPr/>
            </a:pPr>
            <a:endParaRPr lang="en-GB" altLang="ja-JP" sz="1200" b="1" kern="0" dirty="0">
              <a:latin typeface="+mn-lt"/>
              <a:ea typeface="+mn-ea"/>
            </a:endParaRPr>
          </a:p>
        </p:txBody>
      </p:sp>
      <p:sp>
        <p:nvSpPr>
          <p:cNvPr id="38" name="Rectangle 3">
            <a:extLst>
              <a:ext uri="{FF2B5EF4-FFF2-40B4-BE49-F238E27FC236}">
                <a16:creationId xmlns:a16="http://schemas.microsoft.com/office/drawing/2014/main" id="{521CD120-39CD-0580-5BD5-1BB653AD62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85988" y="1862442"/>
            <a:ext cx="2148840" cy="155447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anchor="t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br>
              <a:rPr lang="en-US" sz="1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ision</a:t>
            </a:r>
            <a:br>
              <a: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agement</a:t>
            </a:r>
            <a:endParaRPr lang="en-US" sz="1100" b="1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4BFD0001-9A6D-282C-F476-91BE07CE718A}"/>
              </a:ext>
            </a:extLst>
          </p:cNvPr>
          <p:cNvGrpSpPr/>
          <p:nvPr/>
        </p:nvGrpSpPr>
        <p:grpSpPr>
          <a:xfrm>
            <a:off x="1012610" y="2560809"/>
            <a:ext cx="1895594" cy="642655"/>
            <a:chOff x="1201717" y="3870904"/>
            <a:chExt cx="1895594" cy="568320"/>
          </a:xfrm>
        </p:grpSpPr>
        <p:sp>
          <p:nvSpPr>
            <p:cNvPr id="52" name="Rectangle 3">
              <a:extLst>
                <a:ext uri="{FF2B5EF4-FFF2-40B4-BE49-F238E27FC236}">
                  <a16:creationId xmlns:a16="http://schemas.microsoft.com/office/drawing/2014/main" id="{0A70FBB6-D1C4-DEE0-67F4-DA3BBA9A3FC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185078" y="3870904"/>
              <a:ext cx="912233" cy="56832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cision</a:t>
              </a:r>
              <a:b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untime</a:t>
              </a:r>
            </a:p>
          </p:txBody>
        </p:sp>
        <p:sp>
          <p:nvSpPr>
            <p:cNvPr id="53" name="Rectangle 3">
              <a:extLst>
                <a:ext uri="{FF2B5EF4-FFF2-40B4-BE49-F238E27FC236}">
                  <a16:creationId xmlns:a16="http://schemas.microsoft.com/office/drawing/2014/main" id="{3A778372-1FDA-BFBE-F048-7D9C064A8DC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1201717" y="3870904"/>
              <a:ext cx="912233" cy="56832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cision</a:t>
              </a:r>
              <a:b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uthoring</a:t>
              </a:r>
            </a:p>
          </p:txBody>
        </p:sp>
      </p:grpSp>
      <p:sp>
        <p:nvSpPr>
          <p:cNvPr id="46" name="Rectangle 3">
            <a:extLst>
              <a:ext uri="{FF2B5EF4-FFF2-40B4-BE49-F238E27FC236}">
                <a16:creationId xmlns:a16="http://schemas.microsoft.com/office/drawing/2014/main" id="{CC22048D-E3C9-6047-0883-F5BCC92004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302799" y="1862221"/>
            <a:ext cx="2148840" cy="15547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anchor="t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br>
              <a:rPr lang="en-US" sz="1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w-code</a:t>
            </a:r>
            <a:br>
              <a: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ment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694438CA-C2CB-0A74-C2A6-8C25E727FC33}"/>
              </a:ext>
            </a:extLst>
          </p:cNvPr>
          <p:cNvGrpSpPr/>
          <p:nvPr/>
        </p:nvGrpSpPr>
        <p:grpSpPr>
          <a:xfrm>
            <a:off x="3430719" y="2560590"/>
            <a:ext cx="1892998" cy="642877"/>
            <a:chOff x="1203015" y="3870903"/>
            <a:chExt cx="1892998" cy="642877"/>
          </a:xfrm>
        </p:grpSpPr>
        <p:sp>
          <p:nvSpPr>
            <p:cNvPr id="50" name="Rectangle 3">
              <a:extLst>
                <a:ext uri="{FF2B5EF4-FFF2-40B4-BE49-F238E27FC236}">
                  <a16:creationId xmlns:a16="http://schemas.microsoft.com/office/drawing/2014/main" id="{096A04D8-1895-2DAC-F186-2BBAC466D53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185079" y="3870903"/>
              <a:ext cx="910934" cy="64287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pplication</a:t>
              </a:r>
              <a:b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signer</a:t>
              </a:r>
            </a:p>
          </p:txBody>
        </p:sp>
        <p:sp>
          <p:nvSpPr>
            <p:cNvPr id="51" name="Rectangle 3">
              <a:extLst>
                <a:ext uri="{FF2B5EF4-FFF2-40B4-BE49-F238E27FC236}">
                  <a16:creationId xmlns:a16="http://schemas.microsoft.com/office/drawing/2014/main" id="{2FF0381E-70C6-6480-ACC6-6306A4A163C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1203015" y="3870904"/>
              <a:ext cx="910935" cy="64287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utomation</a:t>
              </a:r>
              <a:b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udio</a:t>
              </a:r>
            </a:p>
          </p:txBody>
        </p:sp>
      </p:grpSp>
      <p:sp>
        <p:nvSpPr>
          <p:cNvPr id="49" name="TextBox 48">
            <a:extLst>
              <a:ext uri="{FF2B5EF4-FFF2-40B4-BE49-F238E27FC236}">
                <a16:creationId xmlns:a16="http://schemas.microsoft.com/office/drawing/2014/main" id="{B6BEB31D-E5CE-DAF6-AA9A-93E3873BBD17}"/>
              </a:ext>
            </a:extLst>
          </p:cNvPr>
          <p:cNvSpPr txBox="1"/>
          <p:nvPr/>
        </p:nvSpPr>
        <p:spPr>
          <a:xfrm>
            <a:off x="588562" y="3538697"/>
            <a:ext cx="516954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200" kern="0" dirty="0">
                <a:latin typeface="Arial" panose="020B0604020202020204" pitchFamily="34" charset="0"/>
                <a:cs typeface="Arial" panose="020B0604020202020204" pitchFamily="34" charset="0"/>
              </a:rPr>
              <a:t>Cloud Pak for Business Automation</a:t>
            </a:r>
          </a:p>
        </p:txBody>
      </p:sp>
      <p:sp>
        <p:nvSpPr>
          <p:cNvPr id="30" name="Rectangle 4">
            <a:extLst>
              <a:ext uri="{FF2B5EF4-FFF2-40B4-BE49-F238E27FC236}">
                <a16:creationId xmlns:a16="http://schemas.microsoft.com/office/drawing/2014/main" id="{03B96734-0367-2901-0E34-C061611BBD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832159" y="1569657"/>
            <a:ext cx="2723279" cy="236240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91440" anchor="t"/>
          <a:lstStyle>
            <a:lvl1pPr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defTabSz="685808">
              <a:tabLst>
                <a:tab pos="1489094" algn="l"/>
              </a:tabLst>
              <a:defRPr/>
            </a:pPr>
            <a:endParaRPr lang="en-GB" altLang="ja-JP" sz="1200" b="1" kern="0" dirty="0">
              <a:latin typeface="+mn-lt"/>
              <a:ea typeface="+mn-ea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FBF7842-085C-52B8-F75F-61CCFEC55753}"/>
              </a:ext>
            </a:extLst>
          </p:cNvPr>
          <p:cNvSpPr txBox="1"/>
          <p:nvPr/>
        </p:nvSpPr>
        <p:spPr>
          <a:xfrm>
            <a:off x="5832159" y="3446365"/>
            <a:ext cx="272327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200" kern="0" dirty="0">
                <a:latin typeface="Arial" panose="020B0604020202020204" pitchFamily="34" charset="0"/>
                <a:cs typeface="Arial" panose="020B0604020202020204" pitchFamily="34" charset="0"/>
              </a:rPr>
              <a:t>Watson Machine Learning </a:t>
            </a:r>
            <a:br>
              <a:rPr lang="en-US" sz="1200" kern="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kern="0" dirty="0">
                <a:latin typeface="Arial" panose="020B0604020202020204" pitchFamily="34" charset="0"/>
                <a:cs typeface="Arial" panose="020B0604020202020204" pitchFamily="34" charset="0"/>
              </a:rPr>
              <a:t>(in Cloud Pak for Data)</a:t>
            </a:r>
          </a:p>
        </p:txBody>
      </p:sp>
      <p:sp>
        <p:nvSpPr>
          <p:cNvPr id="33" name="Rectangle 3">
            <a:extLst>
              <a:ext uri="{FF2B5EF4-FFF2-40B4-BE49-F238E27FC236}">
                <a16:creationId xmlns:a16="http://schemas.microsoft.com/office/drawing/2014/main" id="{F8FFDF3C-4D07-D478-57AE-E044C619D9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105853" y="1862221"/>
            <a:ext cx="2148840" cy="15547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anchor="t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br>
              <a:rPr lang="en-US" sz="1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chine</a:t>
            </a:r>
            <a:br>
              <a: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rning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E4780B32-12C7-6FDA-5D02-A139C15D45B3}"/>
              </a:ext>
            </a:extLst>
          </p:cNvPr>
          <p:cNvGrpSpPr/>
          <p:nvPr/>
        </p:nvGrpSpPr>
        <p:grpSpPr>
          <a:xfrm>
            <a:off x="6232476" y="2560590"/>
            <a:ext cx="1895594" cy="642877"/>
            <a:chOff x="1201717" y="3870903"/>
            <a:chExt cx="1895594" cy="642877"/>
          </a:xfrm>
        </p:grpSpPr>
        <p:sp>
          <p:nvSpPr>
            <p:cNvPr id="55" name="Rectangle 3">
              <a:extLst>
                <a:ext uri="{FF2B5EF4-FFF2-40B4-BE49-F238E27FC236}">
                  <a16:creationId xmlns:a16="http://schemas.microsoft.com/office/drawing/2014/main" id="{8A628019-481B-024C-99C0-681B02C3FE1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185078" y="3870904"/>
              <a:ext cx="912233" cy="64287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edictive analytics runtime</a:t>
              </a:r>
            </a:p>
          </p:txBody>
        </p:sp>
        <p:sp>
          <p:nvSpPr>
            <p:cNvPr id="56" name="Rectangle 3">
              <a:extLst>
                <a:ext uri="{FF2B5EF4-FFF2-40B4-BE49-F238E27FC236}">
                  <a16:creationId xmlns:a16="http://schemas.microsoft.com/office/drawing/2014/main" id="{40681740-2191-2D1A-9C44-11F7BF3ED89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1201717" y="3870903"/>
              <a:ext cx="912233" cy="64287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edictive analytics author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262937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icture containing blur&#10;&#10;Description automatically generated">
            <a:extLst>
              <a:ext uri="{FF2B5EF4-FFF2-40B4-BE49-F238E27FC236}">
                <a16:creationId xmlns:a16="http://schemas.microsoft.com/office/drawing/2014/main" id="{9248A943-7586-A342-8A23-BA5EFE9C058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7" name="Picture 6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7609E39F-C2F6-3441-964F-08C396BB6578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5FC501F7-74BE-3A08-8900-6F93FF2ED203}"/>
              </a:ext>
            </a:extLst>
          </p:cNvPr>
          <p:cNvSpPr txBox="1">
            <a:spLocks/>
          </p:cNvSpPr>
          <p:nvPr/>
        </p:nvSpPr>
        <p:spPr>
          <a:xfrm>
            <a:off x="2" y="1112775"/>
            <a:ext cx="9143998" cy="1458975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IBM Plex Sans Light" panose="020B0403050203000203" pitchFamily="34" charset="0"/>
                <a:ea typeface="+mj-ea"/>
                <a:cs typeface="+mj-cs"/>
              </a:defRPr>
            </a:lvl1pPr>
          </a:lstStyle>
          <a:p>
            <a:pPr algn="ctr">
              <a:spcBef>
                <a:spcPts val="600"/>
              </a:spcBef>
              <a:spcAft>
                <a:spcPts val="1800"/>
              </a:spcAft>
            </a:pPr>
            <a:r>
              <a:rPr lang="en-US" sz="35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</a:t>
            </a:r>
          </a:p>
          <a:p>
            <a:pPr algn="ctr">
              <a:spcBef>
                <a:spcPts val="600"/>
              </a:spcBef>
              <a:spcAft>
                <a:spcPts val="1800"/>
              </a:spcAft>
            </a:pPr>
            <a:r>
              <a:rPr lang="en-US" sz="35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dictive decisioning</a:t>
            </a:r>
            <a:endParaRPr lang="en-US" sz="3200" b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46239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 descr="A picture containing blur&#10;&#10;Description automatically generated">
            <a:extLst>
              <a:ext uri="{FF2B5EF4-FFF2-40B4-BE49-F238E27FC236}">
                <a16:creationId xmlns:a16="http://schemas.microsoft.com/office/drawing/2014/main" id="{E6701448-E8AD-F30E-8CF0-761E6D1B4B67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27" name="Picture 26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B1502845-0225-3387-E8BD-DA12F57953F8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4A17FE-E30C-884E-8600-EBD9A3446D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8667D6D-B90D-EAC9-6B98-A8947C61BA59}"/>
              </a:ext>
            </a:extLst>
          </p:cNvPr>
          <p:cNvSpPr/>
          <p:nvPr/>
        </p:nvSpPr>
        <p:spPr bwMode="auto">
          <a:xfrm>
            <a:off x="329581" y="990510"/>
            <a:ext cx="8484839" cy="3790784"/>
          </a:xfrm>
          <a:prstGeom prst="rect">
            <a:avLst/>
          </a:prstGeom>
          <a:solidFill>
            <a:schemeClr val="tx1">
              <a:alpha val="50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33" name="Title">
            <a:extLst>
              <a:ext uri="{FF2B5EF4-FFF2-40B4-BE49-F238E27FC236}">
                <a16:creationId xmlns:a16="http://schemas.microsoft.com/office/drawing/2014/main" id="{83962735-38FC-B4FB-04B2-BAEFFA01C6F0}"/>
              </a:ext>
            </a:extLst>
          </p:cNvPr>
          <p:cNvSpPr txBox="1">
            <a:spLocks/>
          </p:cNvSpPr>
          <p:nvPr/>
        </p:nvSpPr>
        <p:spPr>
          <a:xfrm>
            <a:off x="210311" y="201168"/>
            <a:ext cx="6210586" cy="713232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5pPr>
            <a:lvl6pPr marL="36256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6pPr>
            <a:lvl7pPr marL="72513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7pPr>
            <a:lvl8pPr marL="108770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8pPr>
            <a:lvl9pPr marL="145027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9pPr>
          </a:lstStyle>
          <a:p>
            <a:pPr defTabSz="914400"/>
            <a:r>
              <a:rPr lang="en-US" sz="28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takeaways</a:t>
            </a:r>
            <a:endParaRPr lang="en-US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i="1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edictive decisioning demo</a:t>
            </a:r>
          </a:p>
          <a:p>
            <a:pPr defTabSz="914400"/>
            <a:endParaRPr lang="en-US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400"/>
            <a:br>
              <a:rPr lang="en-US" sz="1600" kern="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6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307D3C8-27A5-DFC9-6668-AF432A6449C6}"/>
              </a:ext>
            </a:extLst>
          </p:cNvPr>
          <p:cNvSpPr/>
          <p:nvPr/>
        </p:nvSpPr>
        <p:spPr>
          <a:xfrm>
            <a:off x="329580" y="1120264"/>
            <a:ext cx="6718920" cy="26545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4330" indent="-285750">
              <a:lnSpc>
                <a:spcPct val="90000"/>
              </a:lnSpc>
              <a:spcAft>
                <a:spcPts val="600"/>
              </a:spcAft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b="1" dirty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dictive decisioning…</a:t>
            </a:r>
          </a:p>
          <a:p>
            <a:pPr marL="697321" lvl="1" indent="-285750">
              <a:lnSpc>
                <a:spcPct val="90000"/>
              </a:lnSpc>
              <a:spcAft>
                <a:spcPts val="600"/>
              </a:spcAft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s decision accuracy</a:t>
            </a:r>
          </a:p>
          <a:p>
            <a:pPr marL="697321" lvl="1" indent="-285750">
              <a:lnSpc>
                <a:spcPct val="90000"/>
              </a:lnSpc>
              <a:spcAft>
                <a:spcPts val="600"/>
              </a:spcAft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roves customer experience</a:t>
            </a:r>
          </a:p>
          <a:p>
            <a:pPr marL="685892" lvl="2" indent="-274320">
              <a:lnSpc>
                <a:spcPct val="90000"/>
              </a:lnSpc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rgets spending more effectively </a:t>
            </a:r>
          </a:p>
          <a:p>
            <a:pPr marL="342900" indent="-274320">
              <a:lnSpc>
                <a:spcPct val="90000"/>
              </a:lnSpc>
              <a:spcBef>
                <a:spcPts val="1200"/>
              </a:spcBef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b="1" dirty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ed business rules and machine learning </a:t>
            </a: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vide decision makers new data-driven insights to customize offerings.</a:t>
            </a:r>
          </a:p>
          <a:p>
            <a:pPr marL="342900" indent="-274320">
              <a:lnSpc>
                <a:spcPct val="90000"/>
              </a:lnSpc>
              <a:spcBef>
                <a:spcPts val="1200"/>
              </a:spcBef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b="1" dirty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ision automation </a:t>
            </a: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s operational speed and effectiveness.</a:t>
            </a:r>
          </a:p>
          <a:p>
            <a:pPr marL="342900" indent="-274320">
              <a:lnSpc>
                <a:spcPct val="90000"/>
              </a:lnSpc>
              <a:spcBef>
                <a:spcPts val="1200"/>
              </a:spcBef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b="1" dirty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w-code tools </a:t>
            </a: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minate barriers that often keep business users from using data science to enhance business decisions.</a:t>
            </a:r>
          </a:p>
        </p:txBody>
      </p:sp>
    </p:spTree>
    <p:extLst>
      <p:ext uri="{BB962C8B-B14F-4D97-AF65-F5344CB8AC3E}">
        <p14:creationId xmlns:p14="http://schemas.microsoft.com/office/powerpoint/2010/main" val="1690450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icture containing blur&#10;&#10;Description automatically generated">
            <a:extLst>
              <a:ext uri="{FF2B5EF4-FFF2-40B4-BE49-F238E27FC236}">
                <a16:creationId xmlns:a16="http://schemas.microsoft.com/office/drawing/2014/main" id="{9248A943-7586-A342-8A23-BA5EFE9C058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7" name="Picture 6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7609E39F-C2F6-3441-964F-08C396BB6578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pic>
        <p:nvPicPr>
          <p:cNvPr id="4" name="Picture 3" descr="Icon&#10;&#10;Description automatically generated">
            <a:extLst>
              <a:ext uri="{FF2B5EF4-FFF2-40B4-BE49-F238E27FC236}">
                <a16:creationId xmlns:a16="http://schemas.microsoft.com/office/drawing/2014/main" id="{D71AE79E-88B6-4B49-8950-048F1C068E5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1214" r="21215"/>
          <a:stretch/>
        </p:blipFill>
        <p:spPr>
          <a:xfrm>
            <a:off x="3897549" y="1793421"/>
            <a:ext cx="1348902" cy="1559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12766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blur&#10;&#10;Description automatically generated">
            <a:extLst>
              <a:ext uri="{FF2B5EF4-FFF2-40B4-BE49-F238E27FC236}">
                <a16:creationId xmlns:a16="http://schemas.microsoft.com/office/drawing/2014/main" id="{AAA19B92-835F-DE6C-5F6A-0043B69D7AAE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8" name="Picture 7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91815F1F-180C-EA0A-3095-38933B90A6E1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3C6CA3C-B257-FA45-BDDC-DD0682655A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8"/>
            <a:ext cx="5729571" cy="804672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itional learning resourc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856A7D-53F2-214F-871C-1EB579B9B7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28666" y="911259"/>
            <a:ext cx="8695877" cy="3320982"/>
          </a:xfrm>
        </p:spPr>
        <p:txBody>
          <a:bodyPr/>
          <a:lstStyle/>
          <a:p>
            <a:pPr lvl="1" defTabSz="914400"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utomation Decision Services: Key concepts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defTabSz="914400"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utomation Decision Services: Modeling decisions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defTabSz="914400"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utomation Decision Services: Getting started tutorial 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utomation Decision Services: Integrating machine learning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atson Machine Learning: AutoAI overview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0293D5-E65B-FF41-B517-6F3F285C22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6859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3142574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heme/theme1.xml><?xml version="1.0" encoding="utf-8"?>
<a:theme xmlns:a="http://schemas.openxmlformats.org/drawingml/2006/main" name="IBM Brand Template 2022">
  <a:themeElements>
    <a:clrScheme name="IBM brand presentation palette 2022">
      <a:dk1>
        <a:srgbClr val="FFFFFF"/>
      </a:dk1>
      <a:lt1>
        <a:srgbClr val="000000"/>
      </a:lt1>
      <a:dk2>
        <a:srgbClr val="E5F6FF"/>
      </a:dk2>
      <a:lt2>
        <a:srgbClr val="F4F4F4"/>
      </a:lt2>
      <a:accent1>
        <a:srgbClr val="002D9C"/>
      </a:accent1>
      <a:accent2>
        <a:srgbClr val="0F62FE"/>
      </a:accent2>
      <a:accent3>
        <a:srgbClr val="82CFFF"/>
      </a:accent3>
      <a:accent4>
        <a:srgbClr val="9EF0F0"/>
      </a:accent4>
      <a:accent5>
        <a:srgbClr val="E0E0E0"/>
      </a:accent5>
      <a:accent6>
        <a:srgbClr val="FCF4D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9050">
          <a:solidFill>
            <a:schemeClr val="accent1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System Font Regular"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lIns="91440" tIns="91440" rIns="91440" bIns="91440" rtlCol="0">
        <a:spAutoFit/>
      </a:bodyPr>
      <a:lstStyle>
        <a:defPPr marL="173736" indent="-173736" algn="l">
          <a:spcBef>
            <a:spcPts val="1100"/>
          </a:spcBef>
          <a:buFont typeface="System Font Regular"/>
          <a:buChar char="–"/>
          <a:defRPr sz="1400" dirty="0" smtClean="0">
            <a:solidFill>
              <a:schemeClr val="tx1"/>
            </a:solidFill>
            <a:latin typeface="+mn-lt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50">
      <a:srgbClr val="FA4D56"/>
    </a:custClr>
    <a:custClr name="Red 40">
      <a:srgbClr val="FF8389"/>
    </a:custClr>
    <a:custClr name="Red 30">
      <a:srgbClr val="FFB3B8"/>
    </a:custClr>
    <a:custClr name="Red 20">
      <a:srgbClr val="FFD7D9"/>
    </a:custClr>
    <a:custClr name="Red 10">
      <a:srgbClr val="FFF1F1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20">
      <a:srgbClr val="FDDC69"/>
    </a:custClr>
    <a:custClr name="Yellow 10">
      <a:srgbClr val="FCF4D6"/>
    </a:custClr>
    <a:custClr name="Teal 50">
      <a:srgbClr val="009D9A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</a:custClrLst>
  <a:extLst>
    <a:ext uri="{05A4C25C-085E-4340-85A3-A5531E510DB2}">
      <thm15:themeFamily xmlns:thm15="http://schemas.microsoft.com/office/thememl/2012/main" name="IBM_Presentation_Template_2022_V01_Plex_Embed" id="{02D7F33A-96F9-3142-BE93-E46CEC147C3D}" vid="{B93A71AE-C97A-F24E-BECE-31FFF7CA650A}"/>
    </a:ext>
  </a:extLst>
</a:theme>
</file>

<file path=ppt/theme/theme2.xml><?xml version="1.0" encoding="utf-8"?>
<a:theme xmlns:a="http://schemas.openxmlformats.org/drawingml/2006/main" name="IBM BxD 2018 black background">
  <a:themeElements>
    <a:clrScheme name="Custom 3">
      <a:dk1>
        <a:srgbClr val="FFFFFF"/>
      </a:dk1>
      <a:lt1>
        <a:srgbClr val="000000"/>
      </a:lt1>
      <a:dk2>
        <a:srgbClr val="525252"/>
      </a:dk2>
      <a:lt2>
        <a:srgbClr val="F4F4F4"/>
      </a:lt2>
      <a:accent1>
        <a:srgbClr val="0F62FE"/>
      </a:accent1>
      <a:accent2>
        <a:srgbClr val="002D9C"/>
      </a:accent2>
      <a:accent3>
        <a:srgbClr val="D02670"/>
      </a:accent3>
      <a:accent4>
        <a:srgbClr val="8A3FFC"/>
      </a:accent4>
      <a:accent5>
        <a:srgbClr val="007D79"/>
      </a:accent5>
      <a:accent6>
        <a:srgbClr val="697077"/>
      </a:accent6>
      <a:hlink>
        <a:srgbClr val="4589FF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smtClean="0">
            <a:ln>
              <a:noFill/>
            </a:ln>
            <a:solidFill>
              <a:srgbClr val="191919"/>
            </a:solidFill>
            <a:effectLst/>
            <a:latin typeface="IBM Plex Sans" pitchFamily="34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smtClean="0">
            <a:solidFill>
              <a:schemeClr val="bg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8"/>
    </a:custClr>
    <a:custClr name="Magenta 90">
      <a:srgbClr val="510224"/>
    </a:custClr>
    <a:custClr name="Magenta 80">
      <a:srgbClr val="740937"/>
    </a:custClr>
    <a:custClr name="Magenta 70">
      <a:srgbClr val="9F1853"/>
    </a:custClr>
    <a:custClr name="Magenta 60">
      <a:srgbClr val="D12771"/>
    </a:custClr>
    <a:custClr name="Magenta 50">
      <a:srgbClr val="EE5396"/>
    </a:custClr>
    <a:custClr name="Magenta 40">
      <a:srgbClr val="FF7EB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100">
      <a:srgbClr val="1C0F30"/>
    </a:custClr>
    <a:custClr name="Purple 90">
      <a:srgbClr val="31135E"/>
    </a:custClr>
    <a:custClr name="Purple 80">
      <a:srgbClr val="491D8B"/>
    </a:custClr>
    <a:custClr name="Purple 70">
      <a:srgbClr val="6929C4"/>
    </a:custClr>
    <a:custClr name="Purple 60">
      <a:srgbClr val="8A3FFC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Blue 50">
      <a:srgbClr val="4589FF"/>
    </a:custClr>
    <a:custClr name="Blue 40">
      <a:srgbClr val="78A9FF"/>
    </a:custClr>
    <a:custClr name="Blue 30">
      <a:srgbClr val="A6C8FF"/>
    </a:custClr>
    <a:custClr name="Blue 20">
      <a:srgbClr val="D0E2FF"/>
    </a:custClr>
    <a:custClr name="Blue 10">
      <a:srgbClr val="EDF5FF"/>
    </a:custClr>
    <a:custClr name="Teal 100">
      <a:srgbClr val="081A1C"/>
    </a:custClr>
    <a:custClr name="Teal 90">
      <a:srgbClr val="022B30"/>
    </a:custClr>
    <a:custClr name="Teal 80">
      <a:srgbClr val="004548"/>
    </a:custClr>
    <a:custClr name="Teal 70">
      <a:srgbClr val="005D5D"/>
    </a:custClr>
    <a:custClr name="Teal 60">
      <a:srgbClr val="007D79"/>
    </a:custClr>
    <a:custClr name="Teal 50">
      <a:srgbClr val="009C98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</a:custClrLst>
  <a:extLst>
    <a:ext uri="{05A4C25C-085E-4340-85A3-A5531E510DB2}">
      <thm15:themeFamily xmlns:thm15="http://schemas.microsoft.com/office/thememl/2012/main" name="IBM_Master_Presentation_1124_V01_Plex.pptx" id="{80B8559C-7CF0-5B40-975D-B007EC7BCB16}" vid="{15B3B518-7CF1-234E-B76B-F16347DE476D}"/>
    </a:ext>
  </a:extLst>
</a:theme>
</file>

<file path=ppt/theme/theme3.xml><?xml version="1.0" encoding="utf-8"?>
<a:theme xmlns:a="http://schemas.openxmlformats.org/drawingml/2006/main" name="IBM BxD 2018 black background">
  <a:themeElements>
    <a:clrScheme name="Custom 3">
      <a:dk1>
        <a:srgbClr val="FFFFFF"/>
      </a:dk1>
      <a:lt1>
        <a:srgbClr val="000000"/>
      </a:lt1>
      <a:dk2>
        <a:srgbClr val="525252"/>
      </a:dk2>
      <a:lt2>
        <a:srgbClr val="F4F4F4"/>
      </a:lt2>
      <a:accent1>
        <a:srgbClr val="0F62FE"/>
      </a:accent1>
      <a:accent2>
        <a:srgbClr val="002D9C"/>
      </a:accent2>
      <a:accent3>
        <a:srgbClr val="D02670"/>
      </a:accent3>
      <a:accent4>
        <a:srgbClr val="8A3FFC"/>
      </a:accent4>
      <a:accent5>
        <a:srgbClr val="007D79"/>
      </a:accent5>
      <a:accent6>
        <a:srgbClr val="697077"/>
      </a:accent6>
      <a:hlink>
        <a:srgbClr val="4589FF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smtClean="0">
            <a:ln>
              <a:noFill/>
            </a:ln>
            <a:solidFill>
              <a:srgbClr val="191919"/>
            </a:solidFill>
            <a:effectLst/>
            <a:latin typeface="IBM Plex Sans" pitchFamily="34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smtClean="0">
            <a:solidFill>
              <a:schemeClr val="bg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8"/>
    </a:custClr>
    <a:custClr name="Magenta 90">
      <a:srgbClr val="510224"/>
    </a:custClr>
    <a:custClr name="Magenta 80">
      <a:srgbClr val="740937"/>
    </a:custClr>
    <a:custClr name="Magenta 70">
      <a:srgbClr val="9F1853"/>
    </a:custClr>
    <a:custClr name="Magenta 60">
      <a:srgbClr val="D12771"/>
    </a:custClr>
    <a:custClr name="Magenta 50">
      <a:srgbClr val="EE5396"/>
    </a:custClr>
    <a:custClr name="Magenta 40">
      <a:srgbClr val="FF7EB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100">
      <a:srgbClr val="1C0F30"/>
    </a:custClr>
    <a:custClr name="Purple 90">
      <a:srgbClr val="31135E"/>
    </a:custClr>
    <a:custClr name="Purple 80">
      <a:srgbClr val="491D8B"/>
    </a:custClr>
    <a:custClr name="Purple 70">
      <a:srgbClr val="6929C4"/>
    </a:custClr>
    <a:custClr name="Purple 60">
      <a:srgbClr val="8A3FFC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Blue 50">
      <a:srgbClr val="4589FF"/>
    </a:custClr>
    <a:custClr name="Blue 40">
      <a:srgbClr val="78A9FF"/>
    </a:custClr>
    <a:custClr name="Blue 30">
      <a:srgbClr val="A6C8FF"/>
    </a:custClr>
    <a:custClr name="Blue 20">
      <a:srgbClr val="D0E2FF"/>
    </a:custClr>
    <a:custClr name="Blue 10">
      <a:srgbClr val="EDF5FF"/>
    </a:custClr>
    <a:custClr name="Teal 100">
      <a:srgbClr val="081A1C"/>
    </a:custClr>
    <a:custClr name="Teal 90">
      <a:srgbClr val="022B30"/>
    </a:custClr>
    <a:custClr name="Teal 80">
      <a:srgbClr val="004548"/>
    </a:custClr>
    <a:custClr name="Teal 70">
      <a:srgbClr val="005D5D"/>
    </a:custClr>
    <a:custClr name="Teal 60">
      <a:srgbClr val="007D79"/>
    </a:custClr>
    <a:custClr name="Teal 50">
      <a:srgbClr val="009C98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</a:custClrLst>
  <a:extLst>
    <a:ext uri="{05A4C25C-085E-4340-85A3-A5531E510DB2}">
      <thm15:themeFamily xmlns:thm15="http://schemas.microsoft.com/office/thememl/2012/main" name="IBM_Master_Presentation_1124_V01_Plex.pptx" id="{80B8559C-7CF0-5B40-975D-B007EC7BCB16}" vid="{15B3B518-7CF1-234E-B76B-F16347DE476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BM Brand Template 2022</Template>
  <TotalTime>17971</TotalTime>
  <Words>667</Words>
  <Application>Microsoft Macintosh PowerPoint</Application>
  <PresentationFormat>On-screen Show (16:9)</PresentationFormat>
  <Paragraphs>126</Paragraphs>
  <Slides>10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6" baseType="lpstr">
      <vt:lpstr>IBM Plex Sans Light</vt:lpstr>
      <vt:lpstr>System Font Regular</vt:lpstr>
      <vt:lpstr>IBM Plex Sans</vt:lpstr>
      <vt:lpstr>Calibri</vt:lpstr>
      <vt:lpstr>Arial</vt:lpstr>
      <vt:lpstr>IBM Brand Template 2022</vt:lpstr>
      <vt:lpstr>PowerPoint Presentation</vt:lpstr>
      <vt:lpstr>Demo overview</vt:lpstr>
      <vt:lpstr>Demo overview</vt:lpstr>
      <vt:lpstr>Demo flow</vt:lpstr>
      <vt:lpstr>Demo components </vt:lpstr>
      <vt:lpstr>PowerPoint Presentation</vt:lpstr>
      <vt:lpstr>PowerPoint Presentation</vt:lpstr>
      <vt:lpstr>PowerPoint Presentation</vt:lpstr>
      <vt:lpstr>Additional learning resources</vt:lpstr>
      <vt:lpstr>Demo architectur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lcome to the  IBM Presentation Template — IBM Plex® variant</dc:title>
  <dc:creator>Dennis Woo</dc:creator>
  <cp:lastModifiedBy>Dennis Woo</cp:lastModifiedBy>
  <cp:revision>91</cp:revision>
  <cp:lastPrinted>2019-04-25T15:14:05Z</cp:lastPrinted>
  <dcterms:created xsi:type="dcterms:W3CDTF">2022-03-29T18:01:34Z</dcterms:created>
  <dcterms:modified xsi:type="dcterms:W3CDTF">2022-06-24T21:43:24Z</dcterms:modified>
</cp:coreProperties>
</file>